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sldIdLst>
    <p:sldId id="264" r:id="rId3"/>
    <p:sldId id="271" r:id="rId4"/>
    <p:sldId id="269" r:id="rId5"/>
    <p:sldId id="272" r:id="rId6"/>
    <p:sldId id="285" r:id="rId7"/>
    <p:sldId id="282" r:id="rId8"/>
    <p:sldId id="288" r:id="rId9"/>
    <p:sldId id="289" r:id="rId10"/>
    <p:sldId id="290" r:id="rId11"/>
    <p:sldId id="295" r:id="rId12"/>
    <p:sldId id="291" r:id="rId13"/>
    <p:sldId id="277" r:id="rId14"/>
    <p:sldId id="287" r:id="rId15"/>
    <p:sldId id="292" r:id="rId16"/>
    <p:sldId id="294" r:id="rId17"/>
    <p:sldId id="293" r:id="rId18"/>
    <p:sldId id="296" r:id="rId19"/>
    <p:sldId id="298" r:id="rId20"/>
    <p:sldId id="299" r:id="rId21"/>
    <p:sldId id="278" r:id="rId22"/>
    <p:sldId id="279" r:id="rId23"/>
    <p:sldId id="270" r:id="rId24"/>
  </p:sldIdLst>
  <p:sldSz cx="12192000" cy="6858000"/>
  <p:notesSz cx="6858000" cy="9144000"/>
  <p:custDataLst>
    <p:tags r:id="rId2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elichting" id="{F83D3667-AD78-4951-8BD1-77B6A5288ECC}">
          <p14:sldIdLst/>
        </p14:section>
        <p14:section name="Openingsslide" id="{78E5389A-0F6A-44AC-8353-54A3FCCC18E7}">
          <p14:sldIdLst/>
        </p14:section>
        <p14:section name="Titeldia's" id="{743E7F86-A821-41F1-99AE-007948AC9C9F}">
          <p14:sldIdLst>
            <p14:sldId id="264"/>
            <p14:sldId id="271"/>
          </p14:sldIdLst>
        </p14:section>
        <p14:section name="Content" id="{87DB367C-CD6D-49A8-937D-3207518EFEAC}">
          <p14:sldIdLst>
            <p14:sldId id="269"/>
            <p14:sldId id="272"/>
            <p14:sldId id="285"/>
            <p14:sldId id="282"/>
            <p14:sldId id="288"/>
            <p14:sldId id="289"/>
            <p14:sldId id="290"/>
            <p14:sldId id="295"/>
            <p14:sldId id="291"/>
            <p14:sldId id="277"/>
            <p14:sldId id="287"/>
          </p14:sldIdLst>
        </p14:section>
        <p14:section name="Considerations" id="{2AA88B82-B8C2-4419-A69B-E8F136F6C43D}">
          <p14:sldIdLst>
            <p14:sldId id="292"/>
            <p14:sldId id="294"/>
            <p14:sldId id="293"/>
            <p14:sldId id="296"/>
          </p14:sldIdLst>
        </p14:section>
        <p14:section name="Wrap-up" id="{95B73BE0-6C88-43D3-97CC-4F2A07FF1CF6}">
          <p14:sldIdLst>
            <p14:sldId id="298"/>
            <p14:sldId id="299"/>
            <p14:sldId id="278"/>
            <p14:sldId id="279"/>
          </p14:sldIdLst>
        </p14:section>
        <p14:section name="Evaluation QR" id="{F6EF2391-635B-449E-BCFC-5F39C1D927C2}">
          <p14:sldIdLst>
            <p14:sldId id="270"/>
          </p14:sldIdLst>
        </p14:section>
        <p14:section name="partnerslide" id="{03F7539A-5320-4B2A-AB62-C6F13B30ABCF}">
          <p14:sldIdLst/>
        </p14:section>
      </p14:sectionLst>
    </p:ex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7278"/>
    <a:srgbClr val="B60064"/>
    <a:srgbClr val="4668C5"/>
    <a:srgbClr val="C94F0F"/>
    <a:srgbClr val="FFFFFF"/>
    <a:srgbClr val="DDDAD7"/>
    <a:srgbClr val="F3F2F1"/>
    <a:srgbClr val="F2C811"/>
    <a:srgbClr val="12239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A1F496-8134-4EDD-B1EA-C464F666BCB6}" v="439" dt="2024-03-08T01:05:30.2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668" y="272"/>
      </p:cViewPr>
      <p:guideLst>
        <p:guide pos="325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rzyminski, Grzegorz" userId="0c1cb62d-c60a-4e4f-b918-a4b6f306529d" providerId="ADAL" clId="{66A1F496-8134-4EDD-B1EA-C464F666BCB6}"/>
    <pc:docChg chg="undo custSel addSld delSld modSld sldOrd modMainMaster addSection modSection replTag">
      <pc:chgData name="Strzyminski, Grzegorz" userId="0c1cb62d-c60a-4e4f-b918-a4b6f306529d" providerId="ADAL" clId="{66A1F496-8134-4EDD-B1EA-C464F666BCB6}" dt="2024-03-08T01:05:35.556" v="8458" actId="47"/>
      <pc:docMkLst>
        <pc:docMk/>
      </pc:docMkLst>
      <pc:sldChg chg="addSp delSp modSp del mod">
        <pc:chgData name="Strzyminski, Grzegorz" userId="0c1cb62d-c60a-4e4f-b918-a4b6f306529d" providerId="ADAL" clId="{66A1F496-8134-4EDD-B1EA-C464F666BCB6}" dt="2024-03-04T17:02:56.938" v="528" actId="47"/>
        <pc:sldMkLst>
          <pc:docMk/>
          <pc:sldMk cId="791576755" sldId="263"/>
        </pc:sldMkLst>
        <pc:spChg chg="mod">
          <ac:chgData name="Strzyminski, Grzegorz" userId="0c1cb62d-c60a-4e4f-b918-a4b6f306529d" providerId="ADAL" clId="{66A1F496-8134-4EDD-B1EA-C464F666BCB6}" dt="2024-03-04T16:56:25.782" v="59" actId="948"/>
          <ac:spMkLst>
            <pc:docMk/>
            <pc:sldMk cId="791576755" sldId="263"/>
            <ac:spMk id="2" creationId="{27087007-5F2C-A7B2-FEF1-DFE6D76528D1}"/>
          </ac:spMkLst>
        </pc:spChg>
        <pc:spChg chg="add del mod modVis">
          <ac:chgData name="Strzyminski, Grzegorz" userId="0c1cb62d-c60a-4e4f-b918-a4b6f306529d" providerId="ADAL" clId="{66A1F496-8134-4EDD-B1EA-C464F666BCB6}" dt="2024-03-04T16:56:25.819" v="82"/>
          <ac:spMkLst>
            <pc:docMk/>
            <pc:sldMk cId="791576755" sldId="263"/>
            <ac:spMk id="4" creationId="{B89BD7EB-A347-9316-4A9A-8C5167DA4CD2}"/>
          </ac:spMkLst>
        </pc:spChg>
        <pc:graphicFrameChg chg="mod">
          <ac:chgData name="Strzyminski, Grzegorz" userId="0c1cb62d-c60a-4e4f-b918-a4b6f306529d" providerId="ADAL" clId="{66A1F496-8134-4EDD-B1EA-C464F666BCB6}" dt="2024-03-04T16:56:25.824" v="84"/>
          <ac:graphicFrameMkLst>
            <pc:docMk/>
            <pc:sldMk cId="791576755" sldId="263"/>
            <ac:graphicFrameMk id="5" creationId="{A80EFA2C-BDC4-E596-AF8C-F4FABED73AB3}"/>
          </ac:graphicFrameMkLst>
        </pc:graphicFrameChg>
      </pc:sldChg>
      <pc:sldChg chg="addSp delSp modSp mod">
        <pc:chgData name="Strzyminski, Grzegorz" userId="0c1cb62d-c60a-4e4f-b918-a4b6f306529d" providerId="ADAL" clId="{66A1F496-8134-4EDD-B1EA-C464F666BCB6}" dt="2024-03-04T17:02:53.779" v="527" actId="20577"/>
        <pc:sldMkLst>
          <pc:docMk/>
          <pc:sldMk cId="2174704069" sldId="264"/>
        </pc:sldMkLst>
        <pc:spChg chg="add del mod modVis">
          <ac:chgData name="Strzyminski, Grzegorz" userId="0c1cb62d-c60a-4e4f-b918-a4b6f306529d" providerId="ADAL" clId="{66A1F496-8134-4EDD-B1EA-C464F666BCB6}" dt="2024-03-04T17:02:43.869" v="458"/>
          <ac:spMkLst>
            <pc:docMk/>
            <pc:sldMk cId="2174704069" sldId="264"/>
            <ac:spMk id="2" creationId="{7148E7E4-7A19-1CAF-B3B8-0C5029079E71}"/>
          </ac:spMkLst>
        </pc:spChg>
        <pc:spChg chg="mod">
          <ac:chgData name="Strzyminski, Grzegorz" userId="0c1cb62d-c60a-4e4f-b918-a4b6f306529d" providerId="ADAL" clId="{66A1F496-8134-4EDD-B1EA-C464F666BCB6}" dt="2024-03-04T17:02:53.779" v="527" actId="20577"/>
          <ac:spMkLst>
            <pc:docMk/>
            <pc:sldMk cId="2174704069" sldId="264"/>
            <ac:spMk id="3" creationId="{79A50354-47F4-BCD4-5B65-5E8AA56640A2}"/>
          </ac:spMkLst>
        </pc:spChg>
        <pc:spChg chg="mod">
          <ac:chgData name="Strzyminski, Grzegorz" userId="0c1cb62d-c60a-4e4f-b918-a4b6f306529d" providerId="ADAL" clId="{66A1F496-8134-4EDD-B1EA-C464F666BCB6}" dt="2024-03-04T17:02:43.828" v="415" actId="948"/>
          <ac:spMkLst>
            <pc:docMk/>
            <pc:sldMk cId="2174704069" sldId="264"/>
            <ac:spMk id="4" creationId="{1A9FBE5F-47AE-12A1-EEA9-77F2EA0B4EB8}"/>
          </ac:spMkLst>
        </pc:spChg>
        <pc:graphicFrameChg chg="add mod ord modVis replST">
          <ac:chgData name="Strzyminski, Grzegorz" userId="0c1cb62d-c60a-4e4f-b918-a4b6f306529d" providerId="ADAL" clId="{66A1F496-8134-4EDD-B1EA-C464F666BCB6}" dt="2024-03-04T17:02:43.903" v="473"/>
          <ac:graphicFrameMkLst>
            <pc:docMk/>
            <pc:sldMk cId="2174704069" sldId="264"/>
            <ac:graphicFrameMk id="5" creationId="{E64988F9-FCEA-0958-B848-ED99FD6E663B}"/>
          </ac:graphicFrameMkLst>
        </pc:graphicFrameChg>
      </pc:sldChg>
      <pc:sldChg chg="ord">
        <pc:chgData name="Strzyminski, Grzegorz" userId="0c1cb62d-c60a-4e4f-b918-a4b6f306529d" providerId="ADAL" clId="{66A1F496-8134-4EDD-B1EA-C464F666BCB6}" dt="2024-03-07T21:06:51.713" v="1984"/>
        <pc:sldMkLst>
          <pc:docMk/>
          <pc:sldMk cId="4164166654" sldId="271"/>
        </pc:sldMkLst>
      </pc:sldChg>
      <pc:sldChg chg="modSp mod ord">
        <pc:chgData name="Strzyminski, Grzegorz" userId="0c1cb62d-c60a-4e4f-b918-a4b6f306529d" providerId="ADAL" clId="{66A1F496-8134-4EDD-B1EA-C464F666BCB6}" dt="2024-03-08T01:01:59.631" v="8065" actId="108"/>
        <pc:sldMkLst>
          <pc:docMk/>
          <pc:sldMk cId="3192561730" sldId="272"/>
        </pc:sldMkLst>
        <pc:spChg chg="mod">
          <ac:chgData name="Strzyminski, Grzegorz" userId="0c1cb62d-c60a-4e4f-b918-a4b6f306529d" providerId="ADAL" clId="{66A1F496-8134-4EDD-B1EA-C464F666BCB6}" dt="2024-03-08T01:01:59.631" v="8065" actId="108"/>
          <ac:spMkLst>
            <pc:docMk/>
            <pc:sldMk cId="3192561730" sldId="272"/>
            <ac:spMk id="5" creationId="{16F62582-09FB-82DE-EE84-0E928DE92042}"/>
          </ac:spMkLst>
        </pc:spChg>
      </pc:sldChg>
      <pc:sldChg chg="del mod modShow">
        <pc:chgData name="Strzyminski, Grzegorz" userId="0c1cb62d-c60a-4e4f-b918-a4b6f306529d" providerId="ADAL" clId="{66A1F496-8134-4EDD-B1EA-C464F666BCB6}" dt="2024-03-08T00:15:58.120" v="4769" actId="47"/>
        <pc:sldMkLst>
          <pc:docMk/>
          <pc:sldMk cId="2182706232" sldId="273"/>
        </pc:sldMkLst>
      </pc:sldChg>
      <pc:sldChg chg="del mod modShow">
        <pc:chgData name="Strzyminski, Grzegorz" userId="0c1cb62d-c60a-4e4f-b918-a4b6f306529d" providerId="ADAL" clId="{66A1F496-8134-4EDD-B1EA-C464F666BCB6}" dt="2024-03-08T00:15:58.120" v="4769" actId="47"/>
        <pc:sldMkLst>
          <pc:docMk/>
          <pc:sldMk cId="874075303" sldId="274"/>
        </pc:sldMkLst>
      </pc:sldChg>
      <pc:sldChg chg="del mod modShow">
        <pc:chgData name="Strzyminski, Grzegorz" userId="0c1cb62d-c60a-4e4f-b918-a4b6f306529d" providerId="ADAL" clId="{66A1F496-8134-4EDD-B1EA-C464F666BCB6}" dt="2024-03-08T00:15:58.120" v="4769" actId="47"/>
        <pc:sldMkLst>
          <pc:docMk/>
          <pc:sldMk cId="820781858" sldId="275"/>
        </pc:sldMkLst>
      </pc:sldChg>
      <pc:sldChg chg="del mod modShow">
        <pc:chgData name="Strzyminski, Grzegorz" userId="0c1cb62d-c60a-4e4f-b918-a4b6f306529d" providerId="ADAL" clId="{66A1F496-8134-4EDD-B1EA-C464F666BCB6}" dt="2024-03-08T00:15:58.120" v="4769" actId="47"/>
        <pc:sldMkLst>
          <pc:docMk/>
          <pc:sldMk cId="3624863287" sldId="276"/>
        </pc:sldMkLst>
      </pc:sldChg>
      <pc:sldChg chg="ord">
        <pc:chgData name="Strzyminski, Grzegorz" userId="0c1cb62d-c60a-4e4f-b918-a4b6f306529d" providerId="ADAL" clId="{66A1F496-8134-4EDD-B1EA-C464F666BCB6}" dt="2024-03-08T00:29:59.388" v="5845"/>
        <pc:sldMkLst>
          <pc:docMk/>
          <pc:sldMk cId="2520100149" sldId="277"/>
        </pc:sldMkLst>
      </pc:sldChg>
      <pc:sldChg chg="delSp modSp add del mod ord modShow">
        <pc:chgData name="Strzyminski, Grzegorz" userId="0c1cb62d-c60a-4e4f-b918-a4b6f306529d" providerId="ADAL" clId="{66A1F496-8134-4EDD-B1EA-C464F666BCB6}" dt="2024-03-08T00:29:09.401" v="5837" actId="47"/>
        <pc:sldMkLst>
          <pc:docMk/>
          <pc:sldMk cId="3202442155" sldId="280"/>
        </pc:sldMkLst>
        <pc:spChg chg="del mod">
          <ac:chgData name="Strzyminski, Grzegorz" userId="0c1cb62d-c60a-4e4f-b918-a4b6f306529d" providerId="ADAL" clId="{66A1F496-8134-4EDD-B1EA-C464F666BCB6}" dt="2024-03-04T17:15:52.476" v="1350" actId="478"/>
          <ac:spMkLst>
            <pc:docMk/>
            <pc:sldMk cId="3202442155" sldId="280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66A1F496-8134-4EDD-B1EA-C464F666BCB6}" dt="2024-03-04T17:15:55.604" v="1355" actId="1076"/>
          <ac:spMkLst>
            <pc:docMk/>
            <pc:sldMk cId="3202442155" sldId="280"/>
            <ac:spMk id="5" creationId="{16F62582-09FB-82DE-EE84-0E928DE92042}"/>
          </ac:spMkLst>
        </pc:spChg>
        <pc:graphicFrameChg chg="mod">
          <ac:chgData name="Strzyminski, Grzegorz" userId="0c1cb62d-c60a-4e4f-b918-a4b6f306529d" providerId="ADAL" clId="{66A1F496-8134-4EDD-B1EA-C464F666BCB6}" dt="2024-03-04T17:15:53.015" v="1354"/>
          <ac:graphicFrameMkLst>
            <pc:docMk/>
            <pc:sldMk cId="3202442155" sldId="280"/>
            <ac:graphicFrameMk id="3" creationId="{4AA4518F-B2B0-8138-55D5-AFC0ECFED574}"/>
          </ac:graphicFrameMkLst>
        </pc:graphicFrameChg>
      </pc:sldChg>
      <pc:sldChg chg="modSp add del mod ord">
        <pc:chgData name="Strzyminski, Grzegorz" userId="0c1cb62d-c60a-4e4f-b918-a4b6f306529d" providerId="ADAL" clId="{66A1F496-8134-4EDD-B1EA-C464F666BCB6}" dt="2024-03-08T00:51:42.684" v="7347" actId="47"/>
        <pc:sldMkLst>
          <pc:docMk/>
          <pc:sldMk cId="2914554401" sldId="281"/>
        </pc:sldMkLst>
        <pc:spChg chg="mod">
          <ac:chgData name="Strzyminski, Grzegorz" userId="0c1cb62d-c60a-4e4f-b918-a4b6f306529d" providerId="ADAL" clId="{66A1F496-8134-4EDD-B1EA-C464F666BCB6}" dt="2024-03-04T17:18:15.065" v="1468" actId="20577"/>
          <ac:spMkLst>
            <pc:docMk/>
            <pc:sldMk cId="2914554401" sldId="281"/>
            <ac:spMk id="5" creationId="{16F62582-09FB-82DE-EE84-0E928DE92042}"/>
          </ac:spMkLst>
        </pc:spChg>
      </pc:sldChg>
      <pc:sldChg chg="addSp delSp modSp add mod modShow">
        <pc:chgData name="Strzyminski, Grzegorz" userId="0c1cb62d-c60a-4e4f-b918-a4b6f306529d" providerId="ADAL" clId="{66A1F496-8134-4EDD-B1EA-C464F666BCB6}" dt="2024-03-07T23:49:17.097" v="2936" actId="20577"/>
        <pc:sldMkLst>
          <pc:docMk/>
          <pc:sldMk cId="2166391077" sldId="282"/>
        </pc:sldMkLst>
        <pc:spChg chg="add del mod modVis">
          <ac:chgData name="Strzyminski, Grzegorz" userId="0c1cb62d-c60a-4e4f-b918-a4b6f306529d" providerId="ADAL" clId="{66A1F496-8134-4EDD-B1EA-C464F666BCB6}" dt="2024-03-04T20:48:26.731" v="1558"/>
          <ac:spMkLst>
            <pc:docMk/>
            <pc:sldMk cId="2166391077" sldId="282"/>
            <ac:spMk id="2" creationId="{701E2694-6E58-6AF4-FBB5-72DDA78358FA}"/>
          </ac:spMkLst>
        </pc:spChg>
        <pc:spChg chg="mod">
          <ac:chgData name="Strzyminski, Grzegorz" userId="0c1cb62d-c60a-4e4f-b918-a4b6f306529d" providerId="ADAL" clId="{66A1F496-8134-4EDD-B1EA-C464F666BCB6}" dt="2024-03-07T23:38:29.818" v="2714" actId="948"/>
          <ac:spMkLst>
            <pc:docMk/>
            <pc:sldMk cId="2166391077" sldId="282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7T23:38:29.834" v="2737"/>
          <ac:spMkLst>
            <pc:docMk/>
            <pc:sldMk cId="2166391077" sldId="282"/>
            <ac:spMk id="5" creationId="{00E34DE8-5D9D-D754-45F7-F449C0A61198}"/>
          </ac:spMkLst>
        </pc:spChg>
        <pc:spChg chg="add del">
          <ac:chgData name="Strzyminski, Grzegorz" userId="0c1cb62d-c60a-4e4f-b918-a4b6f306529d" providerId="ADAL" clId="{66A1F496-8134-4EDD-B1EA-C464F666BCB6}" dt="2024-03-04T20:51:32.062" v="1633" actId="22"/>
          <ac:spMkLst>
            <pc:docMk/>
            <pc:sldMk cId="2166391077" sldId="282"/>
            <ac:spMk id="6" creationId="{E441EAF8-8A92-DC41-84D6-784D90C23A9B}"/>
          </ac:spMkLst>
        </pc:spChg>
        <pc:spChg chg="add mod">
          <ac:chgData name="Strzyminski, Grzegorz" userId="0c1cb62d-c60a-4e4f-b918-a4b6f306529d" providerId="ADAL" clId="{66A1F496-8134-4EDD-B1EA-C464F666BCB6}" dt="2024-03-07T23:49:17.097" v="2936" actId="20577"/>
          <ac:spMkLst>
            <pc:docMk/>
            <pc:sldMk cId="2166391077" sldId="282"/>
            <ac:spMk id="7" creationId="{D10D4010-0A78-17BE-E4A4-2BD81E7DE970}"/>
          </ac:spMkLst>
        </pc:spChg>
        <pc:spChg chg="add del mod">
          <ac:chgData name="Strzyminski, Grzegorz" userId="0c1cb62d-c60a-4e4f-b918-a4b6f306529d" providerId="ADAL" clId="{66A1F496-8134-4EDD-B1EA-C464F666BCB6}" dt="2024-03-07T23:29:58.715" v="2349" actId="478"/>
          <ac:spMkLst>
            <pc:docMk/>
            <pc:sldMk cId="2166391077" sldId="282"/>
            <ac:spMk id="8" creationId="{993558AF-6C3C-2743-039D-DE66B9DD711D}"/>
          </ac:spMkLst>
        </pc:spChg>
        <pc:spChg chg="mod">
          <ac:chgData name="Strzyminski, Grzegorz" userId="0c1cb62d-c60a-4e4f-b918-a4b6f306529d" providerId="ADAL" clId="{66A1F496-8134-4EDD-B1EA-C464F666BCB6}" dt="2024-03-07T23:32:04.302" v="2396" actId="14100"/>
          <ac:spMkLst>
            <pc:docMk/>
            <pc:sldMk cId="2166391077" sldId="282"/>
            <ac:spMk id="9" creationId="{BDDFF876-BEAE-DC85-70A6-367509BA298E}"/>
          </ac:spMkLst>
        </pc:spChg>
        <pc:spChg chg="del">
          <ac:chgData name="Strzyminski, Grzegorz" userId="0c1cb62d-c60a-4e4f-b918-a4b6f306529d" providerId="ADAL" clId="{66A1F496-8134-4EDD-B1EA-C464F666BCB6}" dt="2024-03-04T20:48:43.296" v="1564" actId="478"/>
          <ac:spMkLst>
            <pc:docMk/>
            <pc:sldMk cId="2166391077" sldId="282"/>
            <ac:spMk id="10" creationId="{ACC22412-51FA-772C-73B4-762215568EF4}"/>
          </ac:spMkLst>
        </pc:spChg>
        <pc:spChg chg="add mod">
          <ac:chgData name="Strzyminski, Grzegorz" userId="0c1cb62d-c60a-4e4f-b918-a4b6f306529d" providerId="ADAL" clId="{66A1F496-8134-4EDD-B1EA-C464F666BCB6}" dt="2024-03-07T23:31:53.217" v="2393" actId="1076"/>
          <ac:spMkLst>
            <pc:docMk/>
            <pc:sldMk cId="2166391077" sldId="282"/>
            <ac:spMk id="17" creationId="{A841F27E-63CE-3DCD-8DA9-6BAA13BC4F77}"/>
          </ac:spMkLst>
        </pc:spChg>
        <pc:spChg chg="add mod">
          <ac:chgData name="Strzyminski, Grzegorz" userId="0c1cb62d-c60a-4e4f-b918-a4b6f306529d" providerId="ADAL" clId="{66A1F496-8134-4EDD-B1EA-C464F666BCB6}" dt="2024-03-07T23:33:13.204" v="2416" actId="1036"/>
          <ac:spMkLst>
            <pc:docMk/>
            <pc:sldMk cId="2166391077" sldId="282"/>
            <ac:spMk id="18" creationId="{B80322B8-6E06-BA37-983E-E296F8760F72}"/>
          </ac:spMkLst>
        </pc:spChg>
        <pc:spChg chg="add mod">
          <ac:chgData name="Strzyminski, Grzegorz" userId="0c1cb62d-c60a-4e4f-b918-a4b6f306529d" providerId="ADAL" clId="{66A1F496-8134-4EDD-B1EA-C464F666BCB6}" dt="2024-03-07T23:32:12.266" v="2397" actId="1076"/>
          <ac:spMkLst>
            <pc:docMk/>
            <pc:sldMk cId="2166391077" sldId="282"/>
            <ac:spMk id="19" creationId="{57008BEA-8F80-7BB7-0B17-593F78149C86}"/>
          </ac:spMkLst>
        </pc:spChg>
        <pc:graphicFrameChg chg="mod">
          <ac:chgData name="Strzyminski, Grzegorz" userId="0c1cb62d-c60a-4e4f-b918-a4b6f306529d" providerId="ADAL" clId="{66A1F496-8134-4EDD-B1EA-C464F666BCB6}" dt="2024-03-07T23:38:29.834" v="2739"/>
          <ac:graphicFrameMkLst>
            <pc:docMk/>
            <pc:sldMk cId="2166391077" sldId="282"/>
            <ac:graphicFrameMk id="3" creationId="{4CCD9B1F-0AE0-45B5-3D63-515BED506B23}"/>
          </ac:graphicFrameMkLst>
        </pc:graphicFrameChg>
        <pc:picChg chg="add del mod">
          <ac:chgData name="Strzyminski, Grzegorz" userId="0c1cb62d-c60a-4e4f-b918-a4b6f306529d" providerId="ADAL" clId="{66A1F496-8134-4EDD-B1EA-C464F666BCB6}" dt="2024-03-07T23:38:46.954" v="2811" actId="478"/>
          <ac:picMkLst>
            <pc:docMk/>
            <pc:sldMk cId="2166391077" sldId="282"/>
            <ac:picMk id="2" creationId="{D220D3E8-0450-5626-9B7E-96172B116694}"/>
          </ac:picMkLst>
        </pc:picChg>
        <pc:picChg chg="add mod">
          <ac:chgData name="Strzyminski, Grzegorz" userId="0c1cb62d-c60a-4e4f-b918-a4b6f306529d" providerId="ADAL" clId="{66A1F496-8134-4EDD-B1EA-C464F666BCB6}" dt="2024-03-07T23:38:47.672" v="2812"/>
          <ac:picMkLst>
            <pc:docMk/>
            <pc:sldMk cId="2166391077" sldId="282"/>
            <ac:picMk id="6" creationId="{67D8F5BB-793A-C0BD-16C0-3AC44D2665A0}"/>
          </ac:picMkLst>
        </pc:picChg>
        <pc:picChg chg="del">
          <ac:chgData name="Strzyminski, Grzegorz" userId="0c1cb62d-c60a-4e4f-b918-a4b6f306529d" providerId="ADAL" clId="{66A1F496-8134-4EDD-B1EA-C464F666BCB6}" dt="2024-03-04T20:48:41.990" v="1563" actId="478"/>
          <ac:picMkLst>
            <pc:docMk/>
            <pc:sldMk cId="2166391077" sldId="282"/>
            <ac:picMk id="12" creationId="{EC6A187D-FB6A-E18C-5E86-D3D338CD7307}"/>
          </ac:picMkLst>
        </pc:picChg>
        <pc:picChg chg="del">
          <ac:chgData name="Strzyminski, Grzegorz" userId="0c1cb62d-c60a-4e4f-b918-a4b6f306529d" providerId="ADAL" clId="{66A1F496-8134-4EDD-B1EA-C464F666BCB6}" dt="2024-03-04T20:48:41.309" v="1562" actId="478"/>
          <ac:picMkLst>
            <pc:docMk/>
            <pc:sldMk cId="2166391077" sldId="282"/>
            <ac:picMk id="13" creationId="{9CC20618-1E1A-F275-21B5-979BED3BB5BE}"/>
          </ac:picMkLst>
        </pc:picChg>
        <pc:cxnChg chg="del mod">
          <ac:chgData name="Strzyminski, Grzegorz" userId="0c1cb62d-c60a-4e4f-b918-a4b6f306529d" providerId="ADAL" clId="{66A1F496-8134-4EDD-B1EA-C464F666BCB6}" dt="2024-03-04T21:04:10.898" v="1911" actId="478"/>
          <ac:cxnSpMkLst>
            <pc:docMk/>
            <pc:sldMk cId="2166391077" sldId="282"/>
            <ac:cxnSpMk id="11" creationId="{7F2F3F94-9E79-5965-19F1-74120EBE09DD}"/>
          </ac:cxnSpMkLst>
        </pc:cxnChg>
        <pc:cxnChg chg="add del mod">
          <ac:chgData name="Strzyminski, Grzegorz" userId="0c1cb62d-c60a-4e4f-b918-a4b6f306529d" providerId="ADAL" clId="{66A1F496-8134-4EDD-B1EA-C464F666BCB6}" dt="2024-03-04T21:02:50.161" v="1871" actId="478"/>
          <ac:cxnSpMkLst>
            <pc:docMk/>
            <pc:sldMk cId="2166391077" sldId="282"/>
            <ac:cxnSpMk id="15" creationId="{D9638A21-6238-0254-0ABC-1483A5FC12D4}"/>
          </ac:cxnSpMkLst>
        </pc:cxnChg>
      </pc:sldChg>
      <pc:sldChg chg="addSp delSp modSp add del mod">
        <pc:chgData name="Strzyminski, Grzegorz" userId="0c1cb62d-c60a-4e4f-b918-a4b6f306529d" providerId="ADAL" clId="{66A1F496-8134-4EDD-B1EA-C464F666BCB6}" dt="2024-03-07T23:51:05.422" v="2961" actId="47"/>
        <pc:sldMkLst>
          <pc:docMk/>
          <pc:sldMk cId="1936401766" sldId="283"/>
        </pc:sldMkLst>
        <pc:spChg chg="del">
          <ac:chgData name="Strzyminski, Grzegorz" userId="0c1cb62d-c60a-4e4f-b918-a4b6f306529d" providerId="ADAL" clId="{66A1F496-8134-4EDD-B1EA-C464F666BCB6}" dt="2024-03-07T23:50:21.553" v="2947" actId="478"/>
          <ac:spMkLst>
            <pc:docMk/>
            <pc:sldMk cId="1936401766" sldId="283"/>
            <ac:spMk id="4" creationId="{A0121CE1-AE8A-C285-EB49-0DF4545AADEB}"/>
          </ac:spMkLst>
        </pc:spChg>
        <pc:spChg chg="add del mod">
          <ac:chgData name="Strzyminski, Grzegorz" userId="0c1cb62d-c60a-4e4f-b918-a4b6f306529d" providerId="ADAL" clId="{66A1F496-8134-4EDD-B1EA-C464F666BCB6}" dt="2024-03-07T23:50:23.442" v="2952" actId="478"/>
          <ac:spMkLst>
            <pc:docMk/>
            <pc:sldMk cId="1936401766" sldId="283"/>
            <ac:spMk id="5" creationId="{ECF87C7F-9F28-31F6-01D1-85A2DE452698}"/>
          </ac:spMkLst>
        </pc:spChg>
        <pc:spChg chg="add mod">
          <ac:chgData name="Strzyminski, Grzegorz" userId="0c1cb62d-c60a-4e4f-b918-a4b6f306529d" providerId="ADAL" clId="{66A1F496-8134-4EDD-B1EA-C464F666BCB6}" dt="2024-03-07T23:50:24.226" v="2957"/>
          <ac:spMkLst>
            <pc:docMk/>
            <pc:sldMk cId="1936401766" sldId="283"/>
            <ac:spMk id="6" creationId="{E1968884-A7F6-5D3D-3905-0A8F150731D0}"/>
          </ac:spMkLst>
        </pc:spChg>
        <pc:spChg chg="mod">
          <ac:chgData name="Strzyminski, Grzegorz" userId="0c1cb62d-c60a-4e4f-b918-a4b6f306529d" providerId="ADAL" clId="{66A1F496-8134-4EDD-B1EA-C464F666BCB6}" dt="2024-03-07T23:50:53.794" v="2960" actId="14100"/>
          <ac:spMkLst>
            <pc:docMk/>
            <pc:sldMk cId="1936401766" sldId="283"/>
            <ac:spMk id="7" creationId="{D10D4010-0A78-17BE-E4A4-2BD81E7DE970}"/>
          </ac:spMkLst>
        </pc:spChg>
        <pc:spChg chg="mod">
          <ac:chgData name="Strzyminski, Grzegorz" userId="0c1cb62d-c60a-4e4f-b918-a4b6f306529d" providerId="ADAL" clId="{66A1F496-8134-4EDD-B1EA-C464F666BCB6}" dt="2024-03-07T23:50:43.418" v="2958"/>
          <ac:spMkLst>
            <pc:docMk/>
            <pc:sldMk cId="1936401766" sldId="283"/>
            <ac:spMk id="9" creationId="{BDDFF876-BEAE-DC85-70A6-367509BA298E}"/>
          </ac:spMkLst>
        </pc:spChg>
        <pc:graphicFrameChg chg="mod">
          <ac:chgData name="Strzyminski, Grzegorz" userId="0c1cb62d-c60a-4e4f-b918-a4b6f306529d" providerId="ADAL" clId="{66A1F496-8134-4EDD-B1EA-C464F666BCB6}" dt="2024-03-07T23:50:23.938" v="2956"/>
          <ac:graphicFrameMkLst>
            <pc:docMk/>
            <pc:sldMk cId="1936401766" sldId="283"/>
            <ac:graphicFrameMk id="3" creationId="{4CCD9B1F-0AE0-45B5-3D63-515BED506B23}"/>
          </ac:graphicFrameMkLst>
        </pc:graphicFrameChg>
        <pc:picChg chg="add mod">
          <ac:chgData name="Strzyminski, Grzegorz" userId="0c1cb62d-c60a-4e4f-b918-a4b6f306529d" providerId="ADAL" clId="{66A1F496-8134-4EDD-B1EA-C464F666BCB6}" dt="2024-03-07T23:50:24.226" v="2957"/>
          <ac:picMkLst>
            <pc:docMk/>
            <pc:sldMk cId="1936401766" sldId="283"/>
            <ac:picMk id="8" creationId="{CF9E75E9-3AAA-862A-7333-12E1BE485E3F}"/>
          </ac:picMkLst>
        </pc:picChg>
        <pc:cxnChg chg="del">
          <ac:chgData name="Strzyminski, Grzegorz" userId="0c1cb62d-c60a-4e4f-b918-a4b6f306529d" providerId="ADAL" clId="{66A1F496-8134-4EDD-B1EA-C464F666BCB6}" dt="2024-03-07T23:50:15.446" v="2946" actId="478"/>
          <ac:cxnSpMkLst>
            <pc:docMk/>
            <pc:sldMk cId="1936401766" sldId="283"/>
            <ac:cxnSpMk id="11" creationId="{7F2F3F94-9E79-5965-19F1-74120EBE09DD}"/>
          </ac:cxnSpMkLst>
        </pc:cxnChg>
      </pc:sldChg>
      <pc:sldChg chg="add del ord">
        <pc:chgData name="Strzyminski, Grzegorz" userId="0c1cb62d-c60a-4e4f-b918-a4b6f306529d" providerId="ADAL" clId="{66A1F496-8134-4EDD-B1EA-C464F666BCB6}" dt="2024-03-08T00:15:01.175" v="4768" actId="47"/>
        <pc:sldMkLst>
          <pc:docMk/>
          <pc:sldMk cId="262136113" sldId="284"/>
        </pc:sldMkLst>
      </pc:sldChg>
      <pc:sldChg chg="addSp delSp modSp mod">
        <pc:chgData name="Strzyminski, Grzegorz" userId="0c1cb62d-c60a-4e4f-b918-a4b6f306529d" providerId="ADAL" clId="{66A1F496-8134-4EDD-B1EA-C464F666BCB6}" dt="2024-03-07T23:24:43.691" v="2326" actId="20577"/>
        <pc:sldMkLst>
          <pc:docMk/>
          <pc:sldMk cId="1174468338" sldId="285"/>
        </pc:sldMkLst>
        <pc:spChg chg="add del mod modVis">
          <ac:chgData name="Strzyminski, Grzegorz" userId="0c1cb62d-c60a-4e4f-b918-a4b6f306529d" providerId="ADAL" clId="{66A1F496-8134-4EDD-B1EA-C464F666BCB6}" dt="2024-03-07T23:20:39.409" v="2021"/>
          <ac:spMkLst>
            <pc:docMk/>
            <pc:sldMk cId="1174468338" sldId="285"/>
            <ac:spMk id="3" creationId="{3BD9F1AF-3B5C-D67D-DBC1-B0696EA0B048}"/>
          </ac:spMkLst>
        </pc:spChg>
        <pc:spChg chg="mod">
          <ac:chgData name="Strzyminski, Grzegorz" userId="0c1cb62d-c60a-4e4f-b918-a4b6f306529d" providerId="ADAL" clId="{66A1F496-8134-4EDD-B1EA-C464F666BCB6}" dt="2024-03-07T23:23:10.784" v="2204" actId="948"/>
          <ac:spMkLst>
            <pc:docMk/>
            <pc:sldMk cId="1174468338" sldId="285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66A1F496-8134-4EDD-B1EA-C464F666BCB6}" dt="2024-03-07T23:24:43.691" v="2326" actId="20577"/>
          <ac:spMkLst>
            <pc:docMk/>
            <pc:sldMk cId="1174468338" sldId="285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66A1F496-8134-4EDD-B1EA-C464F666BCB6}" dt="2024-03-07T23:21:46.011" v="2063"/>
          <ac:spMkLst>
            <pc:docMk/>
            <pc:sldMk cId="1174468338" sldId="285"/>
            <ac:spMk id="6" creationId="{46E9FB47-5E2C-28F1-A858-C568DA0ED47D}"/>
          </ac:spMkLst>
        </pc:spChg>
        <pc:spChg chg="add del mod modVis">
          <ac:chgData name="Strzyminski, Grzegorz" userId="0c1cb62d-c60a-4e4f-b918-a4b6f306529d" providerId="ADAL" clId="{66A1F496-8134-4EDD-B1EA-C464F666BCB6}" dt="2024-03-07T23:21:46.753" v="2090"/>
          <ac:spMkLst>
            <pc:docMk/>
            <pc:sldMk cId="1174468338" sldId="285"/>
            <ac:spMk id="7" creationId="{33E7D9D9-B86F-5D95-F86E-D0C90125EF97}"/>
          </ac:spMkLst>
        </pc:spChg>
        <pc:spChg chg="add del mod modVis">
          <ac:chgData name="Strzyminski, Grzegorz" userId="0c1cb62d-c60a-4e4f-b918-a4b6f306529d" providerId="ADAL" clId="{66A1F496-8134-4EDD-B1EA-C464F666BCB6}" dt="2024-03-07T23:22:53.409" v="2191" actId="962"/>
          <ac:spMkLst>
            <pc:docMk/>
            <pc:sldMk cId="1174468338" sldId="285"/>
            <ac:spMk id="8" creationId="{642733DA-B8C3-873A-F88A-636EEC9E20E4}"/>
          </ac:spMkLst>
        </pc:spChg>
        <pc:spChg chg="add del mod modVis">
          <ac:chgData name="Strzyminski, Grzegorz" userId="0c1cb62d-c60a-4e4f-b918-a4b6f306529d" providerId="ADAL" clId="{66A1F496-8134-4EDD-B1EA-C464F666BCB6}" dt="2024-03-07T23:23:10.808" v="2227"/>
          <ac:spMkLst>
            <pc:docMk/>
            <pc:sldMk cId="1174468338" sldId="285"/>
            <ac:spMk id="9" creationId="{D0970157-4422-6405-688D-8FFDFD2BCA23}"/>
          </ac:spMkLst>
        </pc:spChg>
        <pc:graphicFrameChg chg="mod">
          <ac:chgData name="Strzyminski, Grzegorz" userId="0c1cb62d-c60a-4e4f-b918-a4b6f306529d" providerId="ADAL" clId="{66A1F496-8134-4EDD-B1EA-C464F666BCB6}" dt="2024-03-07T23:23:10.808" v="2229"/>
          <ac:graphicFrameMkLst>
            <pc:docMk/>
            <pc:sldMk cId="1174468338" sldId="285"/>
            <ac:graphicFrameMk id="2" creationId="{A8366385-0601-F4EC-9AA0-FA38F6488ADD}"/>
          </ac:graphicFrameMkLst>
        </pc:graphicFrameChg>
      </pc:sldChg>
      <pc:sldChg chg="del">
        <pc:chgData name="Strzyminski, Grzegorz" userId="0c1cb62d-c60a-4e4f-b918-a4b6f306529d" providerId="ADAL" clId="{66A1F496-8134-4EDD-B1EA-C464F666BCB6}" dt="2024-03-08T00:38:37.192" v="6387" actId="47"/>
        <pc:sldMkLst>
          <pc:docMk/>
          <pc:sldMk cId="1835909867" sldId="286"/>
        </pc:sldMkLst>
      </pc:sldChg>
      <pc:sldChg chg="addSp delSp modSp mod ord">
        <pc:chgData name="Strzyminski, Grzegorz" userId="0c1cb62d-c60a-4e4f-b918-a4b6f306529d" providerId="ADAL" clId="{66A1F496-8134-4EDD-B1EA-C464F666BCB6}" dt="2024-03-08T00:47:02.218" v="7158" actId="1076"/>
        <pc:sldMkLst>
          <pc:docMk/>
          <pc:sldMk cId="2936214140" sldId="287"/>
        </pc:sldMkLst>
        <pc:spChg chg="add del mod modVis">
          <ac:chgData name="Strzyminski, Grzegorz" userId="0c1cb62d-c60a-4e4f-b918-a4b6f306529d" providerId="ADAL" clId="{66A1F496-8134-4EDD-B1EA-C464F666BCB6}" dt="2024-03-08T00:39:54.699" v="6534"/>
          <ac:spMkLst>
            <pc:docMk/>
            <pc:sldMk cId="2936214140" sldId="287"/>
            <ac:spMk id="3" creationId="{E0D91F70-DA8A-F220-E105-8977D5E42FC5}"/>
          </ac:spMkLst>
        </pc:spChg>
        <pc:spChg chg="mod">
          <ac:chgData name="Strzyminski, Grzegorz" userId="0c1cb62d-c60a-4e4f-b918-a4b6f306529d" providerId="ADAL" clId="{66A1F496-8134-4EDD-B1EA-C464F666BCB6}" dt="2024-03-08T00:40:03.851" v="6650" actId="948"/>
          <ac:spMkLst>
            <pc:docMk/>
            <pc:sldMk cId="2936214140" sldId="287"/>
            <ac:spMk id="4" creationId="{A0121CE1-AE8A-C285-EB49-0DF4545AADEB}"/>
          </ac:spMkLst>
        </pc:spChg>
        <pc:spChg chg="del mod">
          <ac:chgData name="Strzyminski, Grzegorz" userId="0c1cb62d-c60a-4e4f-b918-a4b6f306529d" providerId="ADAL" clId="{66A1F496-8134-4EDD-B1EA-C464F666BCB6}" dt="2024-03-08T00:39:45.920" v="6493" actId="478"/>
          <ac:spMkLst>
            <pc:docMk/>
            <pc:sldMk cId="2936214140" sldId="287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66A1F496-8134-4EDD-B1EA-C464F666BCB6}" dt="2024-03-08T00:39:55.338" v="6561"/>
          <ac:spMkLst>
            <pc:docMk/>
            <pc:sldMk cId="2936214140" sldId="287"/>
            <ac:spMk id="6" creationId="{4DAE81F3-4554-66C1-A5AE-0332D94129B1}"/>
          </ac:spMkLst>
        </pc:spChg>
        <pc:spChg chg="add del mod modVis">
          <ac:chgData name="Strzyminski, Grzegorz" userId="0c1cb62d-c60a-4e4f-b918-a4b6f306529d" providerId="ADAL" clId="{66A1F496-8134-4EDD-B1EA-C464F666BCB6}" dt="2024-03-08T00:39:58.374" v="6607"/>
          <ac:spMkLst>
            <pc:docMk/>
            <pc:sldMk cId="2936214140" sldId="287"/>
            <ac:spMk id="7" creationId="{49F86AE9-96B9-5375-0C4F-90FAC6F0D855}"/>
          </ac:spMkLst>
        </pc:spChg>
        <pc:spChg chg="add del mod modVis">
          <ac:chgData name="Strzyminski, Grzegorz" userId="0c1cb62d-c60a-4e4f-b918-a4b6f306529d" providerId="ADAL" clId="{66A1F496-8134-4EDD-B1EA-C464F666BCB6}" dt="2024-03-08T00:40:01.149" v="6646"/>
          <ac:spMkLst>
            <pc:docMk/>
            <pc:sldMk cId="2936214140" sldId="287"/>
            <ac:spMk id="8" creationId="{60F1FECB-3BEA-7CCD-8702-7B001DB17734}"/>
          </ac:spMkLst>
        </pc:spChg>
        <pc:spChg chg="del">
          <ac:chgData name="Strzyminski, Grzegorz" userId="0c1cb62d-c60a-4e4f-b918-a4b6f306529d" providerId="ADAL" clId="{66A1F496-8134-4EDD-B1EA-C464F666BCB6}" dt="2024-03-08T00:39:39.779" v="6490" actId="478"/>
          <ac:spMkLst>
            <pc:docMk/>
            <pc:sldMk cId="2936214140" sldId="287"/>
            <ac:spMk id="9" creationId="{84664429-88A2-9B19-5EB3-D5F6967A7A1C}"/>
          </ac:spMkLst>
        </pc:spChg>
        <pc:spChg chg="del">
          <ac:chgData name="Strzyminski, Grzegorz" userId="0c1cb62d-c60a-4e4f-b918-a4b6f306529d" providerId="ADAL" clId="{66A1F496-8134-4EDD-B1EA-C464F666BCB6}" dt="2024-03-08T00:39:40.281" v="6491" actId="478"/>
          <ac:spMkLst>
            <pc:docMk/>
            <pc:sldMk cId="2936214140" sldId="287"/>
            <ac:spMk id="10" creationId="{C283B8A3-4911-4BE8-B543-255E07C4F69E}"/>
          </ac:spMkLst>
        </pc:spChg>
        <pc:spChg chg="add mod">
          <ac:chgData name="Strzyminski, Grzegorz" userId="0c1cb62d-c60a-4e4f-b918-a4b6f306529d" providerId="ADAL" clId="{66A1F496-8134-4EDD-B1EA-C464F666BCB6}" dt="2024-03-08T00:45:18.282" v="7142" actId="20577"/>
          <ac:spMkLst>
            <pc:docMk/>
            <pc:sldMk cId="2936214140" sldId="287"/>
            <ac:spMk id="11" creationId="{EEDF3808-0F74-5B86-067F-F87E565A8A1F}"/>
          </ac:spMkLst>
        </pc:spChg>
        <pc:spChg chg="add mod">
          <ac:chgData name="Strzyminski, Grzegorz" userId="0c1cb62d-c60a-4e4f-b918-a4b6f306529d" providerId="ADAL" clId="{66A1F496-8134-4EDD-B1EA-C464F666BCB6}" dt="2024-03-08T00:42:03.989" v="6802" actId="1036"/>
          <ac:spMkLst>
            <pc:docMk/>
            <pc:sldMk cId="2936214140" sldId="287"/>
            <ac:spMk id="12" creationId="{8F73DBDB-2BC6-CBB5-C065-09CFEF1844F6}"/>
          </ac:spMkLst>
        </pc:spChg>
        <pc:spChg chg="add mod">
          <ac:chgData name="Strzyminski, Grzegorz" userId="0c1cb62d-c60a-4e4f-b918-a4b6f306529d" providerId="ADAL" clId="{66A1F496-8134-4EDD-B1EA-C464F666BCB6}" dt="2024-03-08T00:41:17.355" v="6768" actId="2711"/>
          <ac:spMkLst>
            <pc:docMk/>
            <pc:sldMk cId="2936214140" sldId="287"/>
            <ac:spMk id="13" creationId="{148D2515-CA57-B72F-C075-6FF923900859}"/>
          </ac:spMkLst>
        </pc:spChg>
        <pc:spChg chg="mod">
          <ac:chgData name="Strzyminski, Grzegorz" userId="0c1cb62d-c60a-4e4f-b918-a4b6f306529d" providerId="ADAL" clId="{66A1F496-8134-4EDD-B1EA-C464F666BCB6}" dt="2024-03-08T00:41:40.661" v="6773" actId="207"/>
          <ac:spMkLst>
            <pc:docMk/>
            <pc:sldMk cId="2936214140" sldId="287"/>
            <ac:spMk id="15" creationId="{E129367B-628C-B3AD-675E-79A97A69005F}"/>
          </ac:spMkLst>
        </pc:spChg>
        <pc:spChg chg="mod">
          <ac:chgData name="Strzyminski, Grzegorz" userId="0c1cb62d-c60a-4e4f-b918-a4b6f306529d" providerId="ADAL" clId="{66A1F496-8134-4EDD-B1EA-C464F666BCB6}" dt="2024-03-08T00:41:40.661" v="6773" actId="207"/>
          <ac:spMkLst>
            <pc:docMk/>
            <pc:sldMk cId="2936214140" sldId="287"/>
            <ac:spMk id="16" creationId="{041F985C-DECE-5BE4-8A84-C90B8034427B}"/>
          </ac:spMkLst>
        </pc:spChg>
        <pc:spChg chg="add mod">
          <ac:chgData name="Strzyminski, Grzegorz" userId="0c1cb62d-c60a-4e4f-b918-a4b6f306529d" providerId="ADAL" clId="{66A1F496-8134-4EDD-B1EA-C464F666BCB6}" dt="2024-03-08T00:41:59.146" v="6778" actId="207"/>
          <ac:spMkLst>
            <pc:docMk/>
            <pc:sldMk cId="2936214140" sldId="287"/>
            <ac:spMk id="17" creationId="{C845D007-3E65-D3CD-52CB-474689E4FA05}"/>
          </ac:spMkLst>
        </pc:spChg>
        <pc:spChg chg="add mod">
          <ac:chgData name="Strzyminski, Grzegorz" userId="0c1cb62d-c60a-4e4f-b918-a4b6f306529d" providerId="ADAL" clId="{66A1F496-8134-4EDD-B1EA-C464F666BCB6}" dt="2024-03-08T00:44:56.207" v="7095" actId="20577"/>
          <ac:spMkLst>
            <pc:docMk/>
            <pc:sldMk cId="2936214140" sldId="287"/>
            <ac:spMk id="18" creationId="{4F877638-982F-72E6-1224-C6704C7EC3AE}"/>
          </ac:spMkLst>
        </pc:spChg>
        <pc:spChg chg="add mod">
          <ac:chgData name="Strzyminski, Grzegorz" userId="0c1cb62d-c60a-4e4f-b918-a4b6f306529d" providerId="ADAL" clId="{66A1F496-8134-4EDD-B1EA-C464F666BCB6}" dt="2024-03-08T00:46:31.623" v="7148" actId="208"/>
          <ac:spMkLst>
            <pc:docMk/>
            <pc:sldMk cId="2936214140" sldId="287"/>
            <ac:spMk id="19" creationId="{423E0F6E-8AE6-2EE9-1919-FE1C0167BD59}"/>
          </ac:spMkLst>
        </pc:spChg>
        <pc:spChg chg="add mod">
          <ac:chgData name="Strzyminski, Grzegorz" userId="0c1cb62d-c60a-4e4f-b918-a4b6f306529d" providerId="ADAL" clId="{66A1F496-8134-4EDD-B1EA-C464F666BCB6}" dt="2024-03-08T00:46:36.904" v="7150" actId="1076"/>
          <ac:spMkLst>
            <pc:docMk/>
            <pc:sldMk cId="2936214140" sldId="287"/>
            <ac:spMk id="20" creationId="{094CF34C-6E42-4FDE-62AB-97AE40FB3EA6}"/>
          </ac:spMkLst>
        </pc:spChg>
        <pc:spChg chg="add mod">
          <ac:chgData name="Strzyminski, Grzegorz" userId="0c1cb62d-c60a-4e4f-b918-a4b6f306529d" providerId="ADAL" clId="{66A1F496-8134-4EDD-B1EA-C464F666BCB6}" dt="2024-03-08T00:46:58.089" v="7156" actId="1076"/>
          <ac:spMkLst>
            <pc:docMk/>
            <pc:sldMk cId="2936214140" sldId="287"/>
            <ac:spMk id="21" creationId="{785AE0B2-EE12-5A33-A144-C0EE2E70EB47}"/>
          </ac:spMkLst>
        </pc:spChg>
        <pc:spChg chg="add mod">
          <ac:chgData name="Strzyminski, Grzegorz" userId="0c1cb62d-c60a-4e4f-b918-a4b6f306529d" providerId="ADAL" clId="{66A1F496-8134-4EDD-B1EA-C464F666BCB6}" dt="2024-03-08T00:47:02.218" v="7158" actId="1076"/>
          <ac:spMkLst>
            <pc:docMk/>
            <pc:sldMk cId="2936214140" sldId="287"/>
            <ac:spMk id="22" creationId="{26960A23-8592-0D35-64A5-797161C3F3A9}"/>
          </ac:spMkLst>
        </pc:spChg>
        <pc:grpChg chg="add mod">
          <ac:chgData name="Strzyminski, Grzegorz" userId="0c1cb62d-c60a-4e4f-b918-a4b6f306529d" providerId="ADAL" clId="{66A1F496-8134-4EDD-B1EA-C464F666BCB6}" dt="2024-03-08T00:41:46.183" v="6775" actId="1076"/>
          <ac:grpSpMkLst>
            <pc:docMk/>
            <pc:sldMk cId="2936214140" sldId="287"/>
            <ac:grpSpMk id="14" creationId="{80362BF1-DE72-6F24-475B-A574B3C44305}"/>
          </ac:grpSpMkLst>
        </pc:grpChg>
        <pc:graphicFrameChg chg="mod">
          <ac:chgData name="Strzyminski, Grzegorz" userId="0c1cb62d-c60a-4e4f-b918-a4b6f306529d" providerId="ADAL" clId="{66A1F496-8134-4EDD-B1EA-C464F666BCB6}" dt="2024-03-08T00:40:03.867" v="6654"/>
          <ac:graphicFrameMkLst>
            <pc:docMk/>
            <pc:sldMk cId="2936214140" sldId="287"/>
            <ac:graphicFrameMk id="2" creationId="{A8366385-0601-F4EC-9AA0-FA38F6488ADD}"/>
          </ac:graphicFrameMkLst>
        </pc:graphicFrameChg>
      </pc:sldChg>
      <pc:sldChg chg="addSp delSp modSp add mod">
        <pc:chgData name="Strzyminski, Grzegorz" userId="0c1cb62d-c60a-4e4f-b918-a4b6f306529d" providerId="ADAL" clId="{66A1F496-8134-4EDD-B1EA-C464F666BCB6}" dt="2024-03-07T23:45:38.513" v="2925" actId="1076"/>
        <pc:sldMkLst>
          <pc:docMk/>
          <pc:sldMk cId="3341664807" sldId="288"/>
        </pc:sldMkLst>
        <pc:spChg chg="mod">
          <ac:chgData name="Strzyminski, Grzegorz" userId="0c1cb62d-c60a-4e4f-b918-a4b6f306529d" providerId="ADAL" clId="{66A1F496-8134-4EDD-B1EA-C464F666BCB6}" dt="2024-03-07T23:38:34.290" v="2747" actId="948"/>
          <ac:spMkLst>
            <pc:docMk/>
            <pc:sldMk cId="3341664807" sldId="288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7T23:38:34.320" v="2770"/>
          <ac:spMkLst>
            <pc:docMk/>
            <pc:sldMk cId="3341664807" sldId="288"/>
            <ac:spMk id="5" creationId="{847ED7C3-1728-2B7D-D895-4406DDEF19B2}"/>
          </ac:spMkLst>
        </pc:spChg>
        <pc:spChg chg="add mod">
          <ac:chgData name="Strzyminski, Grzegorz" userId="0c1cb62d-c60a-4e4f-b918-a4b6f306529d" providerId="ADAL" clId="{66A1F496-8134-4EDD-B1EA-C464F666BCB6}" dt="2024-03-07T23:40:10.157" v="2919" actId="14100"/>
          <ac:spMkLst>
            <pc:docMk/>
            <pc:sldMk cId="3341664807" sldId="288"/>
            <ac:spMk id="6" creationId="{B4985C24-7790-7D3C-8BC6-D71A8DAD3D6E}"/>
          </ac:spMkLst>
        </pc:spChg>
        <pc:spChg chg="del">
          <ac:chgData name="Strzyminski, Grzegorz" userId="0c1cb62d-c60a-4e4f-b918-a4b6f306529d" providerId="ADAL" clId="{66A1F496-8134-4EDD-B1EA-C464F666BCB6}" dt="2024-03-07T23:34:45.208" v="2459" actId="478"/>
          <ac:spMkLst>
            <pc:docMk/>
            <pc:sldMk cId="3341664807" sldId="288"/>
            <ac:spMk id="7" creationId="{D10D4010-0A78-17BE-E4A4-2BD81E7DE970}"/>
          </ac:spMkLst>
        </pc:spChg>
        <pc:spChg chg="mod">
          <ac:chgData name="Strzyminski, Grzegorz" userId="0c1cb62d-c60a-4e4f-b918-a4b6f306529d" providerId="ADAL" clId="{66A1F496-8134-4EDD-B1EA-C464F666BCB6}" dt="2024-03-07T23:45:28.667" v="2920" actId="14100"/>
          <ac:spMkLst>
            <pc:docMk/>
            <pc:sldMk cId="3341664807" sldId="288"/>
            <ac:spMk id="9" creationId="{BDDFF876-BEAE-DC85-70A6-367509BA298E}"/>
          </ac:spMkLst>
        </pc:spChg>
        <pc:spChg chg="del">
          <ac:chgData name="Strzyminski, Grzegorz" userId="0c1cb62d-c60a-4e4f-b918-a4b6f306529d" providerId="ADAL" clId="{66A1F496-8134-4EDD-B1EA-C464F666BCB6}" dt="2024-03-07T23:34:43.890" v="2458" actId="478"/>
          <ac:spMkLst>
            <pc:docMk/>
            <pc:sldMk cId="3341664807" sldId="288"/>
            <ac:spMk id="17" creationId="{A841F27E-63CE-3DCD-8DA9-6BAA13BC4F77}"/>
          </ac:spMkLst>
        </pc:spChg>
        <pc:spChg chg="del">
          <ac:chgData name="Strzyminski, Grzegorz" userId="0c1cb62d-c60a-4e4f-b918-a4b6f306529d" providerId="ADAL" clId="{66A1F496-8134-4EDD-B1EA-C464F666BCB6}" dt="2024-03-07T23:34:46.057" v="2460" actId="478"/>
          <ac:spMkLst>
            <pc:docMk/>
            <pc:sldMk cId="3341664807" sldId="288"/>
            <ac:spMk id="18" creationId="{B80322B8-6E06-BA37-983E-E296F8760F72}"/>
          </ac:spMkLst>
        </pc:spChg>
        <pc:spChg chg="del">
          <ac:chgData name="Strzyminski, Grzegorz" userId="0c1cb62d-c60a-4e4f-b918-a4b6f306529d" providerId="ADAL" clId="{66A1F496-8134-4EDD-B1EA-C464F666BCB6}" dt="2024-03-07T23:34:46.773" v="2461" actId="478"/>
          <ac:spMkLst>
            <pc:docMk/>
            <pc:sldMk cId="3341664807" sldId="288"/>
            <ac:spMk id="19" creationId="{57008BEA-8F80-7BB7-0B17-593F78149C86}"/>
          </ac:spMkLst>
        </pc:spChg>
        <pc:graphicFrameChg chg="mod">
          <ac:chgData name="Strzyminski, Grzegorz" userId="0c1cb62d-c60a-4e4f-b918-a4b6f306529d" providerId="ADAL" clId="{66A1F496-8134-4EDD-B1EA-C464F666BCB6}" dt="2024-03-07T23:38:34.321" v="2772"/>
          <ac:graphicFrameMkLst>
            <pc:docMk/>
            <pc:sldMk cId="3341664807" sldId="288"/>
            <ac:graphicFrameMk id="3" creationId="{4CCD9B1F-0AE0-45B5-3D63-515BED506B23}"/>
          </ac:graphicFrameMkLst>
        </pc:graphicFrameChg>
        <pc:picChg chg="mod">
          <ac:chgData name="Strzyminski, Grzegorz" userId="0c1cb62d-c60a-4e4f-b918-a4b6f306529d" providerId="ADAL" clId="{66A1F496-8134-4EDD-B1EA-C464F666BCB6}" dt="2024-03-07T23:38:39.160" v="2810" actId="1037"/>
          <ac:picMkLst>
            <pc:docMk/>
            <pc:sldMk cId="3341664807" sldId="288"/>
            <ac:picMk id="2" creationId="{D220D3E8-0450-5626-9B7E-96172B116694}"/>
          </ac:picMkLst>
        </pc:picChg>
        <pc:picChg chg="add mod">
          <ac:chgData name="Strzyminski, Grzegorz" userId="0c1cb62d-c60a-4e4f-b918-a4b6f306529d" providerId="ADAL" clId="{66A1F496-8134-4EDD-B1EA-C464F666BCB6}" dt="2024-03-07T23:45:38.513" v="2925" actId="1076"/>
          <ac:picMkLst>
            <pc:docMk/>
            <pc:sldMk cId="3341664807" sldId="288"/>
            <ac:picMk id="10" creationId="{0293C975-ED1F-F145-85F5-23D0E554ECFF}"/>
          </ac:picMkLst>
        </pc:picChg>
      </pc:sldChg>
      <pc:sldChg chg="addSp delSp modSp add mod ord">
        <pc:chgData name="Strzyminski, Grzegorz" userId="0c1cb62d-c60a-4e4f-b918-a4b6f306529d" providerId="ADAL" clId="{66A1F496-8134-4EDD-B1EA-C464F666BCB6}" dt="2024-03-07T23:49:39.419" v="2940" actId="20577"/>
        <pc:sldMkLst>
          <pc:docMk/>
          <pc:sldMk cId="1889755304" sldId="289"/>
        </pc:sldMkLst>
        <pc:spChg chg="mod">
          <ac:chgData name="Strzyminski, Grzegorz" userId="0c1cb62d-c60a-4e4f-b918-a4b6f306529d" providerId="ADAL" clId="{66A1F496-8134-4EDD-B1EA-C464F666BCB6}" dt="2024-03-07T23:38:14.014" v="2683" actId="948"/>
          <ac:spMkLst>
            <pc:docMk/>
            <pc:sldMk cId="1889755304" sldId="289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7T23:36:34.400" v="2495"/>
          <ac:spMkLst>
            <pc:docMk/>
            <pc:sldMk cId="1889755304" sldId="289"/>
            <ac:spMk id="5" creationId="{9775CE77-7A10-365B-780F-712AF14C65C1}"/>
          </ac:spMkLst>
        </pc:spChg>
        <pc:spChg chg="add del mod modVis">
          <ac:chgData name="Strzyminski, Grzegorz" userId="0c1cb62d-c60a-4e4f-b918-a4b6f306529d" providerId="ADAL" clId="{66A1F496-8134-4EDD-B1EA-C464F666BCB6}" dt="2024-03-07T23:36:39.820" v="2537"/>
          <ac:spMkLst>
            <pc:docMk/>
            <pc:sldMk cId="1889755304" sldId="289"/>
            <ac:spMk id="6" creationId="{3C9266AF-F40C-E3FD-3E4E-4FD9CA7571CF}"/>
          </ac:spMkLst>
        </pc:spChg>
        <pc:spChg chg="mod">
          <ac:chgData name="Strzyminski, Grzegorz" userId="0c1cb62d-c60a-4e4f-b918-a4b6f306529d" providerId="ADAL" clId="{66A1F496-8134-4EDD-B1EA-C464F666BCB6}" dt="2024-03-07T23:49:39.419" v="2940" actId="20577"/>
          <ac:spMkLst>
            <pc:docMk/>
            <pc:sldMk cId="1889755304" sldId="289"/>
            <ac:spMk id="7" creationId="{D10D4010-0A78-17BE-E4A4-2BD81E7DE970}"/>
          </ac:spMkLst>
        </pc:spChg>
        <pc:spChg chg="add del mod modVis">
          <ac:chgData name="Strzyminski, Grzegorz" userId="0c1cb62d-c60a-4e4f-b918-a4b6f306529d" providerId="ADAL" clId="{66A1F496-8134-4EDD-B1EA-C464F666BCB6}" dt="2024-03-07T23:36:42.165" v="2564"/>
          <ac:spMkLst>
            <pc:docMk/>
            <pc:sldMk cId="1889755304" sldId="289"/>
            <ac:spMk id="8" creationId="{00961094-54EF-048E-658C-865C1866E1A0}"/>
          </ac:spMkLst>
        </pc:spChg>
        <pc:spChg chg="add del mod modVis">
          <ac:chgData name="Strzyminski, Grzegorz" userId="0c1cb62d-c60a-4e4f-b918-a4b6f306529d" providerId="ADAL" clId="{66A1F496-8134-4EDD-B1EA-C464F666BCB6}" dt="2024-03-07T23:38:10.567" v="2652"/>
          <ac:spMkLst>
            <pc:docMk/>
            <pc:sldMk cId="1889755304" sldId="289"/>
            <ac:spMk id="11" creationId="{74DE421E-B2FE-F315-EFC4-80B856787C70}"/>
          </ac:spMkLst>
        </pc:spChg>
        <pc:spChg chg="add del mod modVis">
          <ac:chgData name="Strzyminski, Grzegorz" userId="0c1cb62d-c60a-4e4f-b918-a4b6f306529d" providerId="ADAL" clId="{66A1F496-8134-4EDD-B1EA-C464F666BCB6}" dt="2024-03-07T23:38:11.308" v="2679"/>
          <ac:spMkLst>
            <pc:docMk/>
            <pc:sldMk cId="1889755304" sldId="289"/>
            <ac:spMk id="12" creationId="{3B729F7D-609D-B6BA-4DE1-BF5BD00B370A}"/>
          </ac:spMkLst>
        </pc:spChg>
        <pc:spChg chg="add del mod modVis">
          <ac:chgData name="Strzyminski, Grzegorz" userId="0c1cb62d-c60a-4e4f-b918-a4b6f306529d" providerId="ADAL" clId="{66A1F496-8134-4EDD-B1EA-C464F666BCB6}" dt="2024-03-07T23:38:14.027" v="2706"/>
          <ac:spMkLst>
            <pc:docMk/>
            <pc:sldMk cId="1889755304" sldId="289"/>
            <ac:spMk id="13" creationId="{D029BD50-DED4-23A0-C858-14CDFE54041D}"/>
          </ac:spMkLst>
        </pc:spChg>
        <pc:graphicFrameChg chg="mod">
          <ac:chgData name="Strzyminski, Grzegorz" userId="0c1cb62d-c60a-4e4f-b918-a4b6f306529d" providerId="ADAL" clId="{66A1F496-8134-4EDD-B1EA-C464F666BCB6}" dt="2024-03-07T23:38:14.027" v="2708"/>
          <ac:graphicFrameMkLst>
            <pc:docMk/>
            <pc:sldMk cId="1889755304" sldId="289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7T23:36:35.653" v="2498" actId="478"/>
          <ac:picMkLst>
            <pc:docMk/>
            <pc:sldMk cId="1889755304" sldId="289"/>
            <ac:picMk id="2" creationId="{D220D3E8-0450-5626-9B7E-96172B116694}"/>
          </ac:picMkLst>
        </pc:picChg>
        <pc:picChg chg="add mod">
          <ac:chgData name="Strzyminski, Grzegorz" userId="0c1cb62d-c60a-4e4f-b918-a4b6f306529d" providerId="ADAL" clId="{66A1F496-8134-4EDD-B1EA-C464F666BCB6}" dt="2024-03-07T23:38:21.533" v="2711" actId="1076"/>
          <ac:picMkLst>
            <pc:docMk/>
            <pc:sldMk cId="1889755304" sldId="289"/>
            <ac:picMk id="10" creationId="{AAEEE9B9-911A-D961-D9A7-BB87A90E4BBA}"/>
          </ac:picMkLst>
        </pc:picChg>
      </pc:sldChg>
      <pc:sldChg chg="add del">
        <pc:chgData name="Strzyminski, Grzegorz" userId="0c1cb62d-c60a-4e4f-b918-a4b6f306529d" providerId="ADAL" clId="{66A1F496-8134-4EDD-B1EA-C464F666BCB6}" dt="2024-03-07T23:50:03.442" v="2942" actId="47"/>
        <pc:sldMkLst>
          <pc:docMk/>
          <pc:sldMk cId="2813807738" sldId="290"/>
        </pc:sldMkLst>
      </pc:sldChg>
      <pc:sldChg chg="modSp add del mod">
        <pc:chgData name="Strzyminski, Grzegorz" userId="0c1cb62d-c60a-4e4f-b918-a4b6f306529d" providerId="ADAL" clId="{66A1F496-8134-4EDD-B1EA-C464F666BCB6}" dt="2024-03-07T23:48:26.870" v="2934" actId="47"/>
        <pc:sldMkLst>
          <pc:docMk/>
          <pc:sldMk cId="3071385146" sldId="290"/>
        </pc:sldMkLst>
        <pc:spChg chg="mod">
          <ac:chgData name="Strzyminski, Grzegorz" userId="0c1cb62d-c60a-4e4f-b918-a4b6f306529d" providerId="ADAL" clId="{66A1F496-8134-4EDD-B1EA-C464F666BCB6}" dt="2024-03-07T23:48:24.028" v="2933" actId="20577"/>
          <ac:spMkLst>
            <pc:docMk/>
            <pc:sldMk cId="3071385146" sldId="290"/>
            <ac:spMk id="6" creationId="{B4985C24-7790-7D3C-8BC6-D71A8DAD3D6E}"/>
          </ac:spMkLst>
        </pc:spChg>
      </pc:sldChg>
      <pc:sldChg chg="addSp delSp modSp add mod">
        <pc:chgData name="Strzyminski, Grzegorz" userId="0c1cb62d-c60a-4e4f-b918-a4b6f306529d" providerId="ADAL" clId="{66A1F496-8134-4EDD-B1EA-C464F666BCB6}" dt="2024-03-08T00:39:03.336" v="6489"/>
        <pc:sldMkLst>
          <pc:docMk/>
          <pc:sldMk cId="3141483612" sldId="290"/>
        </pc:sldMkLst>
        <pc:spChg chg="add del mod modVis">
          <ac:chgData name="Strzyminski, Grzegorz" userId="0c1cb62d-c60a-4e4f-b918-a4b6f306529d" providerId="ADAL" clId="{66A1F496-8134-4EDD-B1EA-C464F666BCB6}" dt="2024-03-07T23:51:27.079" v="3014"/>
          <ac:spMkLst>
            <pc:docMk/>
            <pc:sldMk cId="3141483612" sldId="290"/>
            <ac:spMk id="2" creationId="{BF687713-A609-3CF5-EA03-5AB2B89FDE29}"/>
          </ac:spMkLst>
        </pc:spChg>
        <pc:spChg chg="mod">
          <ac:chgData name="Strzyminski, Grzegorz" userId="0c1cb62d-c60a-4e4f-b918-a4b6f306529d" providerId="ADAL" clId="{66A1F496-8134-4EDD-B1EA-C464F666BCB6}" dt="2024-03-08T00:39:03.320" v="6464" actId="948"/>
          <ac:spMkLst>
            <pc:docMk/>
            <pc:sldMk cId="3141483612" sldId="290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7T23:51:28.106" v="3042"/>
          <ac:spMkLst>
            <pc:docMk/>
            <pc:sldMk cId="3141483612" sldId="290"/>
            <ac:spMk id="5" creationId="{86AA4805-EC47-8929-ACE8-918EA88EAC0E}"/>
          </ac:spMkLst>
        </pc:spChg>
        <pc:spChg chg="add del mod modVis">
          <ac:chgData name="Strzyminski, Grzegorz" userId="0c1cb62d-c60a-4e4f-b918-a4b6f306529d" providerId="ADAL" clId="{66A1F496-8134-4EDD-B1EA-C464F666BCB6}" dt="2024-03-07T23:51:28.988" v="3072"/>
          <ac:spMkLst>
            <pc:docMk/>
            <pc:sldMk cId="3141483612" sldId="290"/>
            <ac:spMk id="6" creationId="{53D62874-8DE0-DD64-49EF-7044EB82408B}"/>
          </ac:spMkLst>
        </pc:spChg>
        <pc:spChg chg="del">
          <ac:chgData name="Strzyminski, Grzegorz" userId="0c1cb62d-c60a-4e4f-b918-a4b6f306529d" providerId="ADAL" clId="{66A1F496-8134-4EDD-B1EA-C464F666BCB6}" dt="2024-03-07T23:52:24.277" v="3231" actId="478"/>
          <ac:spMkLst>
            <pc:docMk/>
            <pc:sldMk cId="3141483612" sldId="290"/>
            <ac:spMk id="7" creationId="{D10D4010-0A78-17BE-E4A4-2BD81E7DE970}"/>
          </ac:spMkLst>
        </pc:spChg>
        <pc:spChg chg="add del mod modVis">
          <ac:chgData name="Strzyminski, Grzegorz" userId="0c1cb62d-c60a-4e4f-b918-a4b6f306529d" providerId="ADAL" clId="{66A1F496-8134-4EDD-B1EA-C464F666BCB6}" dt="2024-03-07T23:51:31.500" v="3111"/>
          <ac:spMkLst>
            <pc:docMk/>
            <pc:sldMk cId="3141483612" sldId="290"/>
            <ac:spMk id="8" creationId="{AADB75DF-C20E-80AE-B7F4-728EC6299D5B}"/>
          </ac:spMkLst>
        </pc:spChg>
        <pc:spChg chg="del">
          <ac:chgData name="Strzyminski, Grzegorz" userId="0c1cb62d-c60a-4e4f-b918-a4b6f306529d" providerId="ADAL" clId="{66A1F496-8134-4EDD-B1EA-C464F666BCB6}" dt="2024-03-07T23:52:24.277" v="3231" actId="478"/>
          <ac:spMkLst>
            <pc:docMk/>
            <pc:sldMk cId="3141483612" sldId="290"/>
            <ac:spMk id="9" creationId="{BDDFF876-BEAE-DC85-70A6-367509BA298E}"/>
          </ac:spMkLst>
        </pc:spChg>
        <pc:spChg chg="add del mod modVis">
          <ac:chgData name="Strzyminski, Grzegorz" userId="0c1cb62d-c60a-4e4f-b918-a4b6f306529d" providerId="ADAL" clId="{66A1F496-8134-4EDD-B1EA-C464F666BCB6}" dt="2024-03-07T23:51:35.525" v="3157"/>
          <ac:spMkLst>
            <pc:docMk/>
            <pc:sldMk cId="3141483612" sldId="290"/>
            <ac:spMk id="11" creationId="{8DEF5BF9-F367-EEDD-4BE6-7EE46DDDCDEA}"/>
          </ac:spMkLst>
        </pc:spChg>
        <pc:spChg chg="add del mod modVis">
          <ac:chgData name="Strzyminski, Grzegorz" userId="0c1cb62d-c60a-4e4f-b918-a4b6f306529d" providerId="ADAL" clId="{66A1F496-8134-4EDD-B1EA-C464F666BCB6}" dt="2024-03-07T23:52:09.968" v="3205"/>
          <ac:spMkLst>
            <pc:docMk/>
            <pc:sldMk cId="3141483612" sldId="290"/>
            <ac:spMk id="13" creationId="{57191B04-2618-F996-08CA-CDC4B6F1C208}"/>
          </ac:spMkLst>
        </pc:spChg>
        <pc:spChg chg="add mod">
          <ac:chgData name="Strzyminski, Grzegorz" userId="0c1cb62d-c60a-4e4f-b918-a4b6f306529d" providerId="ADAL" clId="{66A1F496-8134-4EDD-B1EA-C464F666BCB6}" dt="2024-03-08T00:01:47.806" v="3608" actId="1076"/>
          <ac:spMkLst>
            <pc:docMk/>
            <pc:sldMk cId="3141483612" sldId="290"/>
            <ac:spMk id="14" creationId="{A16ACA8C-02CB-51C5-DF04-C2CADEB2A9D1}"/>
          </ac:spMkLst>
        </pc:spChg>
        <pc:spChg chg="add del mod">
          <ac:chgData name="Strzyminski, Grzegorz" userId="0c1cb62d-c60a-4e4f-b918-a4b6f306529d" providerId="ADAL" clId="{66A1F496-8134-4EDD-B1EA-C464F666BCB6}" dt="2024-03-07T23:53:11.632" v="3247" actId="478"/>
          <ac:spMkLst>
            <pc:docMk/>
            <pc:sldMk cId="3141483612" sldId="290"/>
            <ac:spMk id="16" creationId="{C36C7EB1-81DC-952C-8208-212E6FD73051}"/>
          </ac:spMkLst>
        </pc:spChg>
        <pc:spChg chg="del">
          <ac:chgData name="Strzyminski, Grzegorz" userId="0c1cb62d-c60a-4e4f-b918-a4b6f306529d" providerId="ADAL" clId="{66A1F496-8134-4EDD-B1EA-C464F666BCB6}" dt="2024-03-07T23:52:24.277" v="3231" actId="478"/>
          <ac:spMkLst>
            <pc:docMk/>
            <pc:sldMk cId="3141483612" sldId="290"/>
            <ac:spMk id="17" creationId="{A841F27E-63CE-3DCD-8DA9-6BAA13BC4F77}"/>
          </ac:spMkLst>
        </pc:spChg>
        <pc:spChg chg="del">
          <ac:chgData name="Strzyminski, Grzegorz" userId="0c1cb62d-c60a-4e4f-b918-a4b6f306529d" providerId="ADAL" clId="{66A1F496-8134-4EDD-B1EA-C464F666BCB6}" dt="2024-03-07T23:52:24.277" v="3231" actId="478"/>
          <ac:spMkLst>
            <pc:docMk/>
            <pc:sldMk cId="3141483612" sldId="290"/>
            <ac:spMk id="18" creationId="{B80322B8-6E06-BA37-983E-E296F8760F72}"/>
          </ac:spMkLst>
        </pc:spChg>
        <pc:spChg chg="del">
          <ac:chgData name="Strzyminski, Grzegorz" userId="0c1cb62d-c60a-4e4f-b918-a4b6f306529d" providerId="ADAL" clId="{66A1F496-8134-4EDD-B1EA-C464F666BCB6}" dt="2024-03-07T23:52:24.277" v="3231" actId="478"/>
          <ac:spMkLst>
            <pc:docMk/>
            <pc:sldMk cId="3141483612" sldId="290"/>
            <ac:spMk id="19" creationId="{57008BEA-8F80-7BB7-0B17-593F78149C86}"/>
          </ac:spMkLst>
        </pc:spChg>
        <pc:spChg chg="add del mod modVis">
          <ac:chgData name="Strzyminski, Grzegorz" userId="0c1cb62d-c60a-4e4f-b918-a4b6f306529d" providerId="ADAL" clId="{66A1F496-8134-4EDD-B1EA-C464F666BCB6}" dt="2024-03-07T23:54:31.527" v="3284"/>
          <ac:spMkLst>
            <pc:docMk/>
            <pc:sldMk cId="3141483612" sldId="290"/>
            <ac:spMk id="20" creationId="{605BA6F8-1E2C-8E62-3744-17D2474F5A49}"/>
          </ac:spMkLst>
        </pc:spChg>
        <pc:spChg chg="add mod">
          <ac:chgData name="Strzyminski, Grzegorz" userId="0c1cb62d-c60a-4e4f-b918-a4b6f306529d" providerId="ADAL" clId="{66A1F496-8134-4EDD-B1EA-C464F666BCB6}" dt="2024-03-08T00:03:07.608" v="3650" actId="14100"/>
          <ac:spMkLst>
            <pc:docMk/>
            <pc:sldMk cId="3141483612" sldId="290"/>
            <ac:spMk id="24" creationId="{AF0BB47F-1A69-D4C8-37F9-07F4ECE0F2C4}"/>
          </ac:spMkLst>
        </pc:spChg>
        <pc:spChg chg="add mod">
          <ac:chgData name="Strzyminski, Grzegorz" userId="0c1cb62d-c60a-4e4f-b918-a4b6f306529d" providerId="ADAL" clId="{66A1F496-8134-4EDD-B1EA-C464F666BCB6}" dt="2024-03-08T00:02:47.204" v="3647" actId="554"/>
          <ac:spMkLst>
            <pc:docMk/>
            <pc:sldMk cId="3141483612" sldId="290"/>
            <ac:spMk id="25" creationId="{5C161B30-ED16-5B28-4B5F-4012A9A377FC}"/>
          </ac:spMkLst>
        </pc:spChg>
        <pc:spChg chg="add mod">
          <ac:chgData name="Strzyminski, Grzegorz" userId="0c1cb62d-c60a-4e4f-b918-a4b6f306529d" providerId="ADAL" clId="{66A1F496-8134-4EDD-B1EA-C464F666BCB6}" dt="2024-03-08T00:02:27.627" v="3639" actId="1036"/>
          <ac:spMkLst>
            <pc:docMk/>
            <pc:sldMk cId="3141483612" sldId="290"/>
            <ac:spMk id="26" creationId="{90023BAB-461F-A45D-E045-9842FE9F9CFC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28" creationId="{287025A3-BDF7-4362-B85D-F74D8270134A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29" creationId="{8EBBE941-0CF7-8605-9F30-54B22018C947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30" creationId="{573AD9DE-93F1-45BB-B3EF-22F42D6D0B19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31" creationId="{50B5722E-4692-24B5-AFEE-2354B38E61A7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32" creationId="{A195F201-02B5-2A9D-9F17-D959878B463B}"/>
          </ac:spMkLst>
        </pc:spChg>
        <pc:spChg chg="mod">
          <ac:chgData name="Strzyminski, Grzegorz" userId="0c1cb62d-c60a-4e4f-b918-a4b6f306529d" providerId="ADAL" clId="{66A1F496-8134-4EDD-B1EA-C464F666BCB6}" dt="2024-03-07T23:58:35.099" v="3421" actId="207"/>
          <ac:spMkLst>
            <pc:docMk/>
            <pc:sldMk cId="3141483612" sldId="290"/>
            <ac:spMk id="33" creationId="{61BC1FA5-05F9-A8B9-4448-19A2C199D328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35" creationId="{7258A477-2E75-B82C-38B5-470C9502B247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36" creationId="{E351E274-909F-AB9D-A079-A4CF3AD2D6EE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37" creationId="{FF99C9F8-7571-A3A1-E0E6-2CB307837580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38" creationId="{019DDFC8-B4A4-B3BB-F2CD-AB7A7AD8D0FA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39" creationId="{B741F098-9EC2-069D-DF54-22AD8F249F57}"/>
          </ac:spMkLst>
        </pc:spChg>
        <pc:spChg chg="mod">
          <ac:chgData name="Strzyminski, Grzegorz" userId="0c1cb62d-c60a-4e4f-b918-a4b6f306529d" providerId="ADAL" clId="{66A1F496-8134-4EDD-B1EA-C464F666BCB6}" dt="2024-03-07T23:58:49.741" v="3424"/>
          <ac:spMkLst>
            <pc:docMk/>
            <pc:sldMk cId="3141483612" sldId="290"/>
            <ac:spMk id="40" creationId="{E6787D73-1EC8-9459-E322-55DF3A72866A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2" creationId="{F835AA0B-86D5-9178-063F-A757E9DBB7A6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3" creationId="{0926EBD5-B51A-6EFB-2828-3BB176F2A310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4" creationId="{0EBD1BB2-04F2-1C71-202C-FEDBC3010855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5" creationId="{29E985B4-B315-416F-3906-BCB134A8E6C2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6" creationId="{08A34AF3-C00B-FC0E-B1CF-A59B48051255}"/>
          </ac:spMkLst>
        </pc:spChg>
        <pc:spChg chg="mod">
          <ac:chgData name="Strzyminski, Grzegorz" userId="0c1cb62d-c60a-4e4f-b918-a4b6f306529d" providerId="ADAL" clId="{66A1F496-8134-4EDD-B1EA-C464F666BCB6}" dt="2024-03-07T23:58:59.192" v="3435"/>
          <ac:spMkLst>
            <pc:docMk/>
            <pc:sldMk cId="3141483612" sldId="290"/>
            <ac:spMk id="47" creationId="{F2FC6019-DCC4-B7E9-A0DD-93FE42D32C3F}"/>
          </ac:spMkLst>
        </pc:spChg>
        <pc:spChg chg="add del mod">
          <ac:chgData name="Strzyminski, Grzegorz" userId="0c1cb62d-c60a-4e4f-b918-a4b6f306529d" providerId="ADAL" clId="{66A1F496-8134-4EDD-B1EA-C464F666BCB6}" dt="2024-03-08T00:02:23.570" v="3635" actId="478"/>
          <ac:spMkLst>
            <pc:docMk/>
            <pc:sldMk cId="3141483612" sldId="290"/>
            <ac:spMk id="49" creationId="{FD21A38B-3F22-6423-29FB-72B23C42A682}"/>
          </ac:spMkLst>
        </pc:spChg>
        <pc:spChg chg="add mod">
          <ac:chgData name="Strzyminski, Grzegorz" userId="0c1cb62d-c60a-4e4f-b918-a4b6f306529d" providerId="ADAL" clId="{66A1F496-8134-4EDD-B1EA-C464F666BCB6}" dt="2024-03-08T00:02:36.202" v="3644" actId="14100"/>
          <ac:spMkLst>
            <pc:docMk/>
            <pc:sldMk cId="3141483612" sldId="290"/>
            <ac:spMk id="50" creationId="{73CC063A-538A-FBEA-2677-719D73DE1C49}"/>
          </ac:spMkLst>
        </pc:spChg>
        <pc:spChg chg="add mod">
          <ac:chgData name="Strzyminski, Grzegorz" userId="0c1cb62d-c60a-4e4f-b918-a4b6f306529d" providerId="ADAL" clId="{66A1F496-8134-4EDD-B1EA-C464F666BCB6}" dt="2024-03-08T00:02:55.062" v="3648" actId="553"/>
          <ac:spMkLst>
            <pc:docMk/>
            <pc:sldMk cId="3141483612" sldId="290"/>
            <ac:spMk id="51" creationId="{659F1A0F-3ECA-4DA8-19D1-8B877E132BFE}"/>
          </ac:spMkLst>
        </pc:spChg>
        <pc:spChg chg="add del mod modVis">
          <ac:chgData name="Strzyminski, Grzegorz" userId="0c1cb62d-c60a-4e4f-b918-a4b6f306529d" providerId="ADAL" clId="{66A1F496-8134-4EDD-B1EA-C464F666BCB6}" dt="2024-03-08T00:38:59.199" v="6424"/>
          <ac:spMkLst>
            <pc:docMk/>
            <pc:sldMk cId="3141483612" sldId="290"/>
            <ac:spMk id="52" creationId="{01767AA9-D494-4539-B369-D16598BF9495}"/>
          </ac:spMkLst>
        </pc:spChg>
        <pc:spChg chg="add del mod modVis">
          <ac:chgData name="Strzyminski, Grzegorz" userId="0c1cb62d-c60a-4e4f-b918-a4b6f306529d" providerId="ADAL" clId="{66A1F496-8134-4EDD-B1EA-C464F666BCB6}" dt="2024-03-08T00:39:01.185" v="6460"/>
          <ac:spMkLst>
            <pc:docMk/>
            <pc:sldMk cId="3141483612" sldId="290"/>
            <ac:spMk id="53" creationId="{8F687CD3-B829-3F17-CD1A-DF7FBE479844}"/>
          </ac:spMkLst>
        </pc:spChg>
        <pc:spChg chg="add del mod modVis">
          <ac:chgData name="Strzyminski, Grzegorz" userId="0c1cb62d-c60a-4e4f-b918-a4b6f306529d" providerId="ADAL" clId="{66A1F496-8134-4EDD-B1EA-C464F666BCB6}" dt="2024-03-08T00:39:03.336" v="6487"/>
          <ac:spMkLst>
            <pc:docMk/>
            <pc:sldMk cId="3141483612" sldId="290"/>
            <ac:spMk id="54" creationId="{4139EA8A-1183-DDB8-5151-02B1E71E7DF5}"/>
          </ac:spMkLst>
        </pc:spChg>
        <pc:grpChg chg="add mod">
          <ac:chgData name="Strzyminski, Grzegorz" userId="0c1cb62d-c60a-4e4f-b918-a4b6f306529d" providerId="ADAL" clId="{66A1F496-8134-4EDD-B1EA-C464F666BCB6}" dt="2024-03-08T00:01:53.628" v="3626" actId="1037"/>
          <ac:grpSpMkLst>
            <pc:docMk/>
            <pc:sldMk cId="3141483612" sldId="290"/>
            <ac:grpSpMk id="27" creationId="{61079268-F398-77BE-F07C-5C40A7B7A9E9}"/>
          </ac:grpSpMkLst>
        </pc:grpChg>
        <pc:grpChg chg="add mod">
          <ac:chgData name="Strzyminski, Grzegorz" userId="0c1cb62d-c60a-4e4f-b918-a4b6f306529d" providerId="ADAL" clId="{66A1F496-8134-4EDD-B1EA-C464F666BCB6}" dt="2024-03-08T00:01:53.628" v="3626" actId="1037"/>
          <ac:grpSpMkLst>
            <pc:docMk/>
            <pc:sldMk cId="3141483612" sldId="290"/>
            <ac:grpSpMk id="34" creationId="{7B9A6B12-9CD3-AF2D-BA4B-725166CB2D0B}"/>
          </ac:grpSpMkLst>
        </pc:grpChg>
        <pc:grpChg chg="add mod">
          <ac:chgData name="Strzyminski, Grzegorz" userId="0c1cb62d-c60a-4e4f-b918-a4b6f306529d" providerId="ADAL" clId="{66A1F496-8134-4EDD-B1EA-C464F666BCB6}" dt="2024-03-08T00:01:53.628" v="3626" actId="1037"/>
          <ac:grpSpMkLst>
            <pc:docMk/>
            <pc:sldMk cId="3141483612" sldId="290"/>
            <ac:grpSpMk id="41" creationId="{996A15AB-3DFE-2CF7-6605-AD55BFC2C3B2}"/>
          </ac:grpSpMkLst>
        </pc:grpChg>
        <pc:graphicFrameChg chg="mod">
          <ac:chgData name="Strzyminski, Grzegorz" userId="0c1cb62d-c60a-4e4f-b918-a4b6f306529d" providerId="ADAL" clId="{66A1F496-8134-4EDD-B1EA-C464F666BCB6}" dt="2024-03-08T00:39:03.336" v="6489"/>
          <ac:graphicFrameMkLst>
            <pc:docMk/>
            <pc:sldMk cId="3141483612" sldId="290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7T23:51:41.215" v="3166" actId="478"/>
          <ac:picMkLst>
            <pc:docMk/>
            <pc:sldMk cId="3141483612" sldId="290"/>
            <ac:picMk id="10" creationId="{AAEEE9B9-911A-D961-D9A7-BB87A90E4BBA}"/>
          </ac:picMkLst>
        </pc:picChg>
        <pc:picChg chg="add mod">
          <ac:chgData name="Strzyminski, Grzegorz" userId="0c1cb62d-c60a-4e4f-b918-a4b6f306529d" providerId="ADAL" clId="{66A1F496-8134-4EDD-B1EA-C464F666BCB6}" dt="2024-03-07T23:52:14.860" v="3230" actId="1036"/>
          <ac:picMkLst>
            <pc:docMk/>
            <pc:sldMk cId="3141483612" sldId="290"/>
            <ac:picMk id="12" creationId="{ABBD3F3B-6E8B-4F4B-3F65-690DAD0F6130}"/>
          </ac:picMkLst>
        </pc:picChg>
        <pc:picChg chg="add mod">
          <ac:chgData name="Strzyminski, Grzegorz" userId="0c1cb62d-c60a-4e4f-b918-a4b6f306529d" providerId="ADAL" clId="{66A1F496-8134-4EDD-B1EA-C464F666BCB6}" dt="2024-03-08T00:01:53.628" v="3626" actId="1037"/>
          <ac:picMkLst>
            <pc:docMk/>
            <pc:sldMk cId="3141483612" sldId="290"/>
            <ac:picMk id="21" creationId="{5D07B6A6-A053-2A57-C22D-57E39D6B551C}"/>
          </ac:picMkLst>
        </pc:picChg>
        <pc:picChg chg="add mod">
          <ac:chgData name="Strzyminski, Grzegorz" userId="0c1cb62d-c60a-4e4f-b918-a4b6f306529d" providerId="ADAL" clId="{66A1F496-8134-4EDD-B1EA-C464F666BCB6}" dt="2024-03-08T00:01:53.628" v="3626" actId="1037"/>
          <ac:picMkLst>
            <pc:docMk/>
            <pc:sldMk cId="3141483612" sldId="290"/>
            <ac:picMk id="22" creationId="{DB045427-65F9-2CCA-8DD2-817FDC754EA4}"/>
          </ac:picMkLst>
        </pc:picChg>
        <pc:picChg chg="add mod">
          <ac:chgData name="Strzyminski, Grzegorz" userId="0c1cb62d-c60a-4e4f-b918-a4b6f306529d" providerId="ADAL" clId="{66A1F496-8134-4EDD-B1EA-C464F666BCB6}" dt="2024-03-08T00:01:53.628" v="3626" actId="1037"/>
          <ac:picMkLst>
            <pc:docMk/>
            <pc:sldMk cId="3141483612" sldId="290"/>
            <ac:picMk id="23" creationId="{05DB3FD6-8690-76E9-27A1-C70B29477AF1}"/>
          </ac:picMkLst>
        </pc:picChg>
        <pc:picChg chg="add mod">
          <ac:chgData name="Strzyminski, Grzegorz" userId="0c1cb62d-c60a-4e4f-b918-a4b6f306529d" providerId="ADAL" clId="{66A1F496-8134-4EDD-B1EA-C464F666BCB6}" dt="2024-03-08T00:01:44.519" v="3606" actId="1076"/>
          <ac:picMkLst>
            <pc:docMk/>
            <pc:sldMk cId="3141483612" sldId="290"/>
            <ac:picMk id="48" creationId="{26F9E367-B39C-659E-4F6E-E0ABCEA45DA5}"/>
          </ac:picMkLst>
        </pc:picChg>
      </pc:sldChg>
      <pc:sldChg chg="addSp delSp modSp add mod">
        <pc:chgData name="Strzyminski, Grzegorz" userId="0c1cb62d-c60a-4e4f-b918-a4b6f306529d" providerId="ADAL" clId="{66A1F496-8134-4EDD-B1EA-C464F666BCB6}" dt="2024-03-08T00:08:28.583" v="4188" actId="12"/>
        <pc:sldMkLst>
          <pc:docMk/>
          <pc:sldMk cId="185540381" sldId="291"/>
        </pc:sldMkLst>
        <pc:spChg chg="add del mod modVis">
          <ac:chgData name="Strzyminski, Grzegorz" userId="0c1cb62d-c60a-4e4f-b918-a4b6f306529d" providerId="ADAL" clId="{66A1F496-8134-4EDD-B1EA-C464F666BCB6}" dt="2024-03-08T00:04:01.870" v="3677"/>
          <ac:spMkLst>
            <pc:docMk/>
            <pc:sldMk cId="185540381" sldId="291"/>
            <ac:spMk id="2" creationId="{598C4163-496B-743F-B89E-8AB246BF3B45}"/>
          </ac:spMkLst>
        </pc:spChg>
        <pc:spChg chg="mod">
          <ac:chgData name="Strzyminski, Grzegorz" userId="0c1cb62d-c60a-4e4f-b918-a4b6f306529d" providerId="ADAL" clId="{66A1F496-8134-4EDD-B1EA-C464F666BCB6}" dt="2024-03-08T00:04:07.982" v="3757" actId="948"/>
          <ac:spMkLst>
            <pc:docMk/>
            <pc:sldMk cId="185540381" sldId="291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8T00:04:02.770" v="3705"/>
          <ac:spMkLst>
            <pc:docMk/>
            <pc:sldMk cId="185540381" sldId="291"/>
            <ac:spMk id="5" creationId="{5F386AD8-BB33-2AF7-E7EB-D18753969429}"/>
          </ac:spMkLst>
        </pc:spChg>
        <pc:spChg chg="add del mod modVis">
          <ac:chgData name="Strzyminski, Grzegorz" userId="0c1cb62d-c60a-4e4f-b918-a4b6f306529d" providerId="ADAL" clId="{66A1F496-8134-4EDD-B1EA-C464F666BCB6}" dt="2024-03-08T00:04:05.596" v="3741"/>
          <ac:spMkLst>
            <pc:docMk/>
            <pc:sldMk cId="185540381" sldId="291"/>
            <ac:spMk id="6" creationId="{8D108127-B26E-DEF1-DE78-4326F3D0C4A3}"/>
          </ac:spMkLst>
        </pc:spChg>
        <pc:spChg chg="add del mod modVis">
          <ac:chgData name="Strzyminski, Grzegorz" userId="0c1cb62d-c60a-4e4f-b918-a4b6f306529d" providerId="ADAL" clId="{66A1F496-8134-4EDD-B1EA-C464F666BCB6}" dt="2024-03-08T00:04:08.001" v="3780"/>
          <ac:spMkLst>
            <pc:docMk/>
            <pc:sldMk cId="185540381" sldId="291"/>
            <ac:spMk id="7" creationId="{638DA707-DE8A-2AA4-FFE7-55D85B5B9E51}"/>
          </ac:spMkLst>
        </pc:spChg>
        <pc:spChg chg="mod">
          <ac:chgData name="Strzyminski, Grzegorz" userId="0c1cb62d-c60a-4e4f-b918-a4b6f306529d" providerId="ADAL" clId="{66A1F496-8134-4EDD-B1EA-C464F666BCB6}" dt="2024-03-08T00:08:28.583" v="4188" actId="12"/>
          <ac:spMkLst>
            <pc:docMk/>
            <pc:sldMk cId="185540381" sldId="291"/>
            <ac:spMk id="14" creationId="{A16ACA8C-02CB-51C5-DF04-C2CADEB2A9D1}"/>
          </ac:spMkLst>
        </pc:spChg>
        <pc:spChg chg="del">
          <ac:chgData name="Strzyminski, Grzegorz" userId="0c1cb62d-c60a-4e4f-b918-a4b6f306529d" providerId="ADAL" clId="{66A1F496-8134-4EDD-B1EA-C464F666BCB6}" dt="2024-03-08T00:04:18.720" v="3787" actId="478"/>
          <ac:spMkLst>
            <pc:docMk/>
            <pc:sldMk cId="185540381" sldId="291"/>
            <ac:spMk id="24" creationId="{AF0BB47F-1A69-D4C8-37F9-07F4ECE0F2C4}"/>
          </ac:spMkLst>
        </pc:spChg>
        <pc:spChg chg="del">
          <ac:chgData name="Strzyminski, Grzegorz" userId="0c1cb62d-c60a-4e4f-b918-a4b6f306529d" providerId="ADAL" clId="{66A1F496-8134-4EDD-B1EA-C464F666BCB6}" dt="2024-03-08T00:04:17.003" v="3784" actId="478"/>
          <ac:spMkLst>
            <pc:docMk/>
            <pc:sldMk cId="185540381" sldId="291"/>
            <ac:spMk id="25" creationId="{5C161B30-ED16-5B28-4B5F-4012A9A377FC}"/>
          </ac:spMkLst>
        </pc:spChg>
        <pc:spChg chg="del">
          <ac:chgData name="Strzyminski, Grzegorz" userId="0c1cb62d-c60a-4e4f-b918-a4b6f306529d" providerId="ADAL" clId="{66A1F496-8134-4EDD-B1EA-C464F666BCB6}" dt="2024-03-08T00:04:23.350" v="3789" actId="478"/>
          <ac:spMkLst>
            <pc:docMk/>
            <pc:sldMk cId="185540381" sldId="291"/>
            <ac:spMk id="26" creationId="{90023BAB-461F-A45D-E045-9842FE9F9CFC}"/>
          </ac:spMkLst>
        </pc:spChg>
        <pc:spChg chg="del">
          <ac:chgData name="Strzyminski, Grzegorz" userId="0c1cb62d-c60a-4e4f-b918-a4b6f306529d" providerId="ADAL" clId="{66A1F496-8134-4EDD-B1EA-C464F666BCB6}" dt="2024-03-08T00:04:17.568" v="3785" actId="478"/>
          <ac:spMkLst>
            <pc:docMk/>
            <pc:sldMk cId="185540381" sldId="291"/>
            <ac:spMk id="50" creationId="{73CC063A-538A-FBEA-2677-719D73DE1C49}"/>
          </ac:spMkLst>
        </pc:spChg>
        <pc:spChg chg="del">
          <ac:chgData name="Strzyminski, Grzegorz" userId="0c1cb62d-c60a-4e4f-b918-a4b6f306529d" providerId="ADAL" clId="{66A1F496-8134-4EDD-B1EA-C464F666BCB6}" dt="2024-03-08T00:04:18.063" v="3786" actId="478"/>
          <ac:spMkLst>
            <pc:docMk/>
            <pc:sldMk cId="185540381" sldId="291"/>
            <ac:spMk id="51" creationId="{659F1A0F-3ECA-4DA8-19D1-8B877E132BFE}"/>
          </ac:spMkLst>
        </pc:spChg>
        <pc:grpChg chg="del">
          <ac:chgData name="Strzyminski, Grzegorz" userId="0c1cb62d-c60a-4e4f-b918-a4b6f306529d" providerId="ADAL" clId="{66A1F496-8134-4EDD-B1EA-C464F666BCB6}" dt="2024-03-08T00:04:22.545" v="3788" actId="478"/>
          <ac:grpSpMkLst>
            <pc:docMk/>
            <pc:sldMk cId="185540381" sldId="291"/>
            <ac:grpSpMk id="27" creationId="{61079268-F398-77BE-F07C-5C40A7B7A9E9}"/>
          </ac:grpSpMkLst>
        </pc:grpChg>
        <pc:grpChg chg="del">
          <ac:chgData name="Strzyminski, Grzegorz" userId="0c1cb62d-c60a-4e4f-b918-a4b6f306529d" providerId="ADAL" clId="{66A1F496-8134-4EDD-B1EA-C464F666BCB6}" dt="2024-03-08T00:04:22.545" v="3788" actId="478"/>
          <ac:grpSpMkLst>
            <pc:docMk/>
            <pc:sldMk cId="185540381" sldId="291"/>
            <ac:grpSpMk id="34" creationId="{7B9A6B12-9CD3-AF2D-BA4B-725166CB2D0B}"/>
          </ac:grpSpMkLst>
        </pc:grpChg>
        <pc:grpChg chg="del">
          <ac:chgData name="Strzyminski, Grzegorz" userId="0c1cb62d-c60a-4e4f-b918-a4b6f306529d" providerId="ADAL" clId="{66A1F496-8134-4EDD-B1EA-C464F666BCB6}" dt="2024-03-08T00:04:22.545" v="3788" actId="478"/>
          <ac:grpSpMkLst>
            <pc:docMk/>
            <pc:sldMk cId="185540381" sldId="291"/>
            <ac:grpSpMk id="41" creationId="{996A15AB-3DFE-2CF7-6605-AD55BFC2C3B2}"/>
          </ac:grpSpMkLst>
        </pc:grpChg>
        <pc:graphicFrameChg chg="mod">
          <ac:chgData name="Strzyminski, Grzegorz" userId="0c1cb62d-c60a-4e4f-b918-a4b6f306529d" providerId="ADAL" clId="{66A1F496-8134-4EDD-B1EA-C464F666BCB6}" dt="2024-03-08T00:04:08.001" v="3782"/>
          <ac:graphicFrameMkLst>
            <pc:docMk/>
            <pc:sldMk cId="185540381" sldId="291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8T00:04:22.545" v="3788" actId="478"/>
          <ac:picMkLst>
            <pc:docMk/>
            <pc:sldMk cId="185540381" sldId="291"/>
            <ac:picMk id="21" creationId="{5D07B6A6-A053-2A57-C22D-57E39D6B551C}"/>
          </ac:picMkLst>
        </pc:picChg>
        <pc:picChg chg="del">
          <ac:chgData name="Strzyminski, Grzegorz" userId="0c1cb62d-c60a-4e4f-b918-a4b6f306529d" providerId="ADAL" clId="{66A1F496-8134-4EDD-B1EA-C464F666BCB6}" dt="2024-03-08T00:04:22.545" v="3788" actId="478"/>
          <ac:picMkLst>
            <pc:docMk/>
            <pc:sldMk cId="185540381" sldId="291"/>
            <ac:picMk id="22" creationId="{DB045427-65F9-2CCA-8DD2-817FDC754EA4}"/>
          </ac:picMkLst>
        </pc:picChg>
        <pc:picChg chg="del">
          <ac:chgData name="Strzyminski, Grzegorz" userId="0c1cb62d-c60a-4e4f-b918-a4b6f306529d" providerId="ADAL" clId="{66A1F496-8134-4EDD-B1EA-C464F666BCB6}" dt="2024-03-08T00:04:23.984" v="3790" actId="478"/>
          <ac:picMkLst>
            <pc:docMk/>
            <pc:sldMk cId="185540381" sldId="291"/>
            <ac:picMk id="23" creationId="{05DB3FD6-8690-76E9-27A1-C70B29477AF1}"/>
          </ac:picMkLst>
        </pc:picChg>
        <pc:picChg chg="del">
          <ac:chgData name="Strzyminski, Grzegorz" userId="0c1cb62d-c60a-4e4f-b918-a4b6f306529d" providerId="ADAL" clId="{66A1F496-8134-4EDD-B1EA-C464F666BCB6}" dt="2024-03-08T00:04:16.437" v="3783" actId="478"/>
          <ac:picMkLst>
            <pc:docMk/>
            <pc:sldMk cId="185540381" sldId="291"/>
            <ac:picMk id="48" creationId="{26F9E367-B39C-659E-4F6E-E0ABCEA45DA5}"/>
          </ac:picMkLst>
        </pc:picChg>
      </pc:sldChg>
      <pc:sldChg chg="addSp delSp modSp add mod ord">
        <pc:chgData name="Strzyminski, Grzegorz" userId="0c1cb62d-c60a-4e4f-b918-a4b6f306529d" providerId="ADAL" clId="{66A1F496-8134-4EDD-B1EA-C464F666BCB6}" dt="2024-03-08T00:35:39.861" v="6302" actId="20577"/>
        <pc:sldMkLst>
          <pc:docMk/>
          <pc:sldMk cId="426041518" sldId="292"/>
        </pc:sldMkLst>
        <pc:spChg chg="mod">
          <ac:chgData name="Strzyminski, Grzegorz" userId="0c1cb62d-c60a-4e4f-b918-a4b6f306529d" providerId="ADAL" clId="{66A1F496-8134-4EDD-B1EA-C464F666BCB6}" dt="2024-03-08T00:12:09.333" v="4613" actId="948"/>
          <ac:spMkLst>
            <pc:docMk/>
            <pc:sldMk cId="426041518" sldId="292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66A1F496-8134-4EDD-B1EA-C464F666BCB6}" dt="2024-03-08T00:09:45.255" v="4246" actId="1076"/>
          <ac:spMkLst>
            <pc:docMk/>
            <pc:sldMk cId="426041518" sldId="292"/>
            <ac:spMk id="5" creationId="{733F3049-EA89-C845-C770-46E9255DCB1A}"/>
          </ac:spMkLst>
        </pc:spChg>
        <pc:spChg chg="mod">
          <ac:chgData name="Strzyminski, Grzegorz" userId="0c1cb62d-c60a-4e4f-b918-a4b6f306529d" providerId="ADAL" clId="{66A1F496-8134-4EDD-B1EA-C464F666BCB6}" dt="2024-03-08T00:09:45.255" v="4246" actId="1076"/>
          <ac:spMkLst>
            <pc:docMk/>
            <pc:sldMk cId="426041518" sldId="292"/>
            <ac:spMk id="6" creationId="{B1462163-AC0E-E87F-E434-99C09FC40AE9}"/>
          </ac:spMkLst>
        </pc:spChg>
        <pc:spChg chg="mod">
          <ac:chgData name="Strzyminski, Grzegorz" userId="0c1cb62d-c60a-4e4f-b918-a4b6f306529d" providerId="ADAL" clId="{66A1F496-8134-4EDD-B1EA-C464F666BCB6}" dt="2024-03-08T00:09:45.255" v="4246" actId="1076"/>
          <ac:spMkLst>
            <pc:docMk/>
            <pc:sldMk cId="426041518" sldId="292"/>
            <ac:spMk id="7" creationId="{32868BF5-19A7-D0C4-8A5C-DBCDA7092A44}"/>
          </ac:spMkLst>
        </pc:spChg>
        <pc:spChg chg="mod">
          <ac:chgData name="Strzyminski, Grzegorz" userId="0c1cb62d-c60a-4e4f-b918-a4b6f306529d" providerId="ADAL" clId="{66A1F496-8134-4EDD-B1EA-C464F666BCB6}" dt="2024-03-08T00:09:45.255" v="4246" actId="1076"/>
          <ac:spMkLst>
            <pc:docMk/>
            <pc:sldMk cId="426041518" sldId="292"/>
            <ac:spMk id="8" creationId="{31B55BD8-B351-1896-36E0-782A72F8BE4A}"/>
          </ac:spMkLst>
        </pc:spChg>
        <pc:spChg chg="mod">
          <ac:chgData name="Strzyminski, Grzegorz" userId="0c1cb62d-c60a-4e4f-b918-a4b6f306529d" providerId="ADAL" clId="{66A1F496-8134-4EDD-B1EA-C464F666BCB6}" dt="2024-03-08T00:09:45.255" v="4246" actId="1076"/>
          <ac:spMkLst>
            <pc:docMk/>
            <pc:sldMk cId="426041518" sldId="292"/>
            <ac:spMk id="9" creationId="{1D00B283-1F54-1748-8BD1-9BABFFE3E14E}"/>
          </ac:spMkLst>
        </pc:spChg>
        <pc:spChg chg="add del mod modVis">
          <ac:chgData name="Strzyminski, Grzegorz" userId="0c1cb62d-c60a-4e4f-b918-a4b6f306529d" providerId="ADAL" clId="{66A1F496-8134-4EDD-B1EA-C464F666BCB6}" dt="2024-03-08T00:09:12.541" v="4240" actId="962"/>
          <ac:spMkLst>
            <pc:docMk/>
            <pc:sldMk cId="426041518" sldId="292"/>
            <ac:spMk id="10" creationId="{9C8B7BD2-A9E9-000E-49C1-0F9BE663EEDA}"/>
          </ac:spMkLst>
        </pc:spChg>
        <pc:spChg chg="add del mod modVis">
          <ac:chgData name="Strzyminski, Grzegorz" userId="0c1cb62d-c60a-4e4f-b918-a4b6f306529d" providerId="ADAL" clId="{66A1F496-8134-4EDD-B1EA-C464F666BCB6}" dt="2024-03-08T00:10:06.086" v="4278"/>
          <ac:spMkLst>
            <pc:docMk/>
            <pc:sldMk cId="426041518" sldId="292"/>
            <ac:spMk id="11" creationId="{A5C92618-27E2-BA68-EDEE-4231C539B1F4}"/>
          </ac:spMkLst>
        </pc:spChg>
        <pc:spChg chg="add del mod modVis">
          <ac:chgData name="Strzyminski, Grzegorz" userId="0c1cb62d-c60a-4e4f-b918-a4b6f306529d" providerId="ADAL" clId="{66A1F496-8134-4EDD-B1EA-C464F666BCB6}" dt="2024-03-08T00:12:04.265" v="4554" actId="962"/>
          <ac:spMkLst>
            <pc:docMk/>
            <pc:sldMk cId="426041518" sldId="292"/>
            <ac:spMk id="13" creationId="{06F171ED-C0D3-80D3-65AB-72FCD593C514}"/>
          </ac:spMkLst>
        </pc:spChg>
        <pc:spChg chg="mod">
          <ac:chgData name="Strzyminski, Grzegorz" userId="0c1cb62d-c60a-4e4f-b918-a4b6f306529d" providerId="ADAL" clId="{66A1F496-8134-4EDD-B1EA-C464F666BCB6}" dt="2024-03-08T00:35:39.861" v="6302" actId="20577"/>
          <ac:spMkLst>
            <pc:docMk/>
            <pc:sldMk cId="426041518" sldId="292"/>
            <ac:spMk id="14" creationId="{A16ACA8C-02CB-51C5-DF04-C2CADEB2A9D1}"/>
          </ac:spMkLst>
        </pc:spChg>
        <pc:spChg chg="add del mod modVis">
          <ac:chgData name="Strzyminski, Grzegorz" userId="0c1cb62d-c60a-4e4f-b918-a4b6f306529d" providerId="ADAL" clId="{66A1F496-8134-4EDD-B1EA-C464F666BCB6}" dt="2024-03-08T00:12:06.033" v="4587"/>
          <ac:spMkLst>
            <pc:docMk/>
            <pc:sldMk cId="426041518" sldId="292"/>
            <ac:spMk id="15" creationId="{2ED50DAA-704F-80D0-8494-7DA2D4BF9AAC}"/>
          </ac:spMkLst>
        </pc:spChg>
        <pc:grpChg chg="add mod">
          <ac:chgData name="Strzyminski, Grzegorz" userId="0c1cb62d-c60a-4e4f-b918-a4b6f306529d" providerId="ADAL" clId="{66A1F496-8134-4EDD-B1EA-C464F666BCB6}" dt="2024-03-08T00:09:45.255" v="4246" actId="1076"/>
          <ac:grpSpMkLst>
            <pc:docMk/>
            <pc:sldMk cId="426041518" sldId="292"/>
            <ac:grpSpMk id="2" creationId="{AAD2CE74-A555-76A6-CD39-C18E418DA6C7}"/>
          </ac:grpSpMkLst>
        </pc:grpChg>
        <pc:graphicFrameChg chg="mod">
          <ac:chgData name="Strzyminski, Grzegorz" userId="0c1cb62d-c60a-4e4f-b918-a4b6f306529d" providerId="ADAL" clId="{66A1F496-8134-4EDD-B1EA-C464F666BCB6}" dt="2024-03-08T00:12:09.333" v="4617"/>
          <ac:graphicFrameMkLst>
            <pc:docMk/>
            <pc:sldMk cId="426041518" sldId="292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8T00:09:07.983" v="4190" actId="478"/>
          <ac:picMkLst>
            <pc:docMk/>
            <pc:sldMk cId="426041518" sldId="292"/>
            <ac:picMk id="12" creationId="{ABBD3F3B-6E8B-4F4B-3F65-690DAD0F6130}"/>
          </ac:picMkLst>
        </pc:picChg>
      </pc:sldChg>
      <pc:sldChg chg="addSp delSp modSp add mod ord">
        <pc:chgData name="Strzyminski, Grzegorz" userId="0c1cb62d-c60a-4e4f-b918-a4b6f306529d" providerId="ADAL" clId="{66A1F496-8134-4EDD-B1EA-C464F666BCB6}" dt="2024-03-08T00:29:28.711" v="5839"/>
        <pc:sldMkLst>
          <pc:docMk/>
          <pc:sldMk cId="2803393787" sldId="293"/>
        </pc:sldMkLst>
        <pc:spChg chg="mod">
          <ac:chgData name="Strzyminski, Grzegorz" userId="0c1cb62d-c60a-4e4f-b918-a4b6f306529d" providerId="ADAL" clId="{66A1F496-8134-4EDD-B1EA-C464F666BCB6}" dt="2024-03-08T00:16:50.584" v="4970" actId="948"/>
          <ac:spMkLst>
            <pc:docMk/>
            <pc:sldMk cId="2803393787" sldId="293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8T00:16:18.859" v="4799"/>
          <ac:spMkLst>
            <pc:docMk/>
            <pc:sldMk cId="2803393787" sldId="293"/>
            <ac:spMk id="10" creationId="{2A761846-90F5-AFCA-9D70-F47295ABABB4}"/>
          </ac:spMkLst>
        </pc:spChg>
        <pc:spChg chg="add del mod modVis">
          <ac:chgData name="Strzyminski, Grzegorz" userId="0c1cb62d-c60a-4e4f-b918-a4b6f306529d" providerId="ADAL" clId="{66A1F496-8134-4EDD-B1EA-C464F666BCB6}" dt="2024-03-08T00:16:21.284" v="4828"/>
          <ac:spMkLst>
            <pc:docMk/>
            <pc:sldMk cId="2803393787" sldId="293"/>
            <ac:spMk id="11" creationId="{D5C8C3E3-C5EC-95B6-D5CD-D948899F14E6}"/>
          </ac:spMkLst>
        </pc:spChg>
        <pc:spChg chg="add del mod modVis">
          <ac:chgData name="Strzyminski, Grzegorz" userId="0c1cb62d-c60a-4e4f-b918-a4b6f306529d" providerId="ADAL" clId="{66A1F496-8134-4EDD-B1EA-C464F666BCB6}" dt="2024-03-08T00:16:39.342" v="4863"/>
          <ac:spMkLst>
            <pc:docMk/>
            <pc:sldMk cId="2803393787" sldId="293"/>
            <ac:spMk id="12" creationId="{E7873A6C-AAFF-7A69-A49F-74814ED2FD8E}"/>
          </ac:spMkLst>
        </pc:spChg>
        <pc:spChg chg="add del mod modVis">
          <ac:chgData name="Strzyminski, Grzegorz" userId="0c1cb62d-c60a-4e4f-b918-a4b6f306529d" providerId="ADAL" clId="{66A1F496-8134-4EDD-B1EA-C464F666BCB6}" dt="2024-03-08T00:16:42.036" v="4904"/>
          <ac:spMkLst>
            <pc:docMk/>
            <pc:sldMk cId="2803393787" sldId="293"/>
            <ac:spMk id="13" creationId="{BF6AD419-E145-C9EA-19B8-8F8A0D4CC57A}"/>
          </ac:spMkLst>
        </pc:spChg>
        <pc:spChg chg="mod">
          <ac:chgData name="Strzyminski, Grzegorz" userId="0c1cb62d-c60a-4e4f-b918-a4b6f306529d" providerId="ADAL" clId="{66A1F496-8134-4EDD-B1EA-C464F666BCB6}" dt="2024-03-08T00:21:50.547" v="5179" actId="20577"/>
          <ac:spMkLst>
            <pc:docMk/>
            <pc:sldMk cId="2803393787" sldId="293"/>
            <ac:spMk id="14" creationId="{A16ACA8C-02CB-51C5-DF04-C2CADEB2A9D1}"/>
          </ac:spMkLst>
        </pc:spChg>
        <pc:spChg chg="add del mod modVis">
          <ac:chgData name="Strzyminski, Grzegorz" userId="0c1cb62d-c60a-4e4f-b918-a4b6f306529d" providerId="ADAL" clId="{66A1F496-8134-4EDD-B1EA-C464F666BCB6}" dt="2024-03-08T00:16:49.184" v="4959"/>
          <ac:spMkLst>
            <pc:docMk/>
            <pc:sldMk cId="2803393787" sldId="293"/>
            <ac:spMk id="15" creationId="{B4DE8E9D-9360-40A4-2691-6651552A101B}"/>
          </ac:spMkLst>
        </pc:spChg>
        <pc:spChg chg="add del mod modVis">
          <ac:chgData name="Strzyminski, Grzegorz" userId="0c1cb62d-c60a-4e4f-b918-a4b6f306529d" providerId="ADAL" clId="{66A1F496-8134-4EDD-B1EA-C464F666BCB6}" dt="2024-03-08T00:16:50.600" v="4993"/>
          <ac:spMkLst>
            <pc:docMk/>
            <pc:sldMk cId="2803393787" sldId="293"/>
            <ac:spMk id="16" creationId="{7A0A3F33-EEE1-0523-0ECD-0B39818BE305}"/>
          </ac:spMkLst>
        </pc:spChg>
        <pc:grpChg chg="del">
          <ac:chgData name="Strzyminski, Grzegorz" userId="0c1cb62d-c60a-4e4f-b918-a4b6f306529d" providerId="ADAL" clId="{66A1F496-8134-4EDD-B1EA-C464F666BCB6}" dt="2024-03-08T00:17:11.789" v="4996" actId="478"/>
          <ac:grpSpMkLst>
            <pc:docMk/>
            <pc:sldMk cId="2803393787" sldId="293"/>
            <ac:grpSpMk id="2" creationId="{AAD2CE74-A555-76A6-CD39-C18E418DA6C7}"/>
          </ac:grpSpMkLst>
        </pc:grpChg>
        <pc:graphicFrameChg chg="mod">
          <ac:chgData name="Strzyminski, Grzegorz" userId="0c1cb62d-c60a-4e4f-b918-a4b6f306529d" providerId="ADAL" clId="{66A1F496-8134-4EDD-B1EA-C464F666BCB6}" dt="2024-03-08T00:16:50.600" v="4995"/>
          <ac:graphicFrameMkLst>
            <pc:docMk/>
            <pc:sldMk cId="2803393787" sldId="293"/>
            <ac:graphicFrameMk id="3" creationId="{4CCD9B1F-0AE0-45B5-3D63-515BED506B23}"/>
          </ac:graphicFrameMkLst>
        </pc:graphicFrameChg>
        <pc:picChg chg="add del mod">
          <ac:chgData name="Strzyminski, Grzegorz" userId="0c1cb62d-c60a-4e4f-b918-a4b6f306529d" providerId="ADAL" clId="{66A1F496-8134-4EDD-B1EA-C464F666BCB6}" dt="2024-03-08T00:17:34.796" v="5003" actId="478"/>
          <ac:picMkLst>
            <pc:docMk/>
            <pc:sldMk cId="2803393787" sldId="293"/>
            <ac:picMk id="17" creationId="{955DE41C-3B9F-AF50-E138-B47FA878D380}"/>
          </ac:picMkLst>
        </pc:picChg>
        <pc:picChg chg="add mod">
          <ac:chgData name="Strzyminski, Grzegorz" userId="0c1cb62d-c60a-4e4f-b918-a4b6f306529d" providerId="ADAL" clId="{66A1F496-8134-4EDD-B1EA-C464F666BCB6}" dt="2024-03-08T00:17:50.249" v="5005" actId="1076"/>
          <ac:picMkLst>
            <pc:docMk/>
            <pc:sldMk cId="2803393787" sldId="293"/>
            <ac:picMk id="18" creationId="{A5F7C888-BACC-77A1-FADB-3639E63E6C20}"/>
          </ac:picMkLst>
        </pc:picChg>
        <pc:picChg chg="add mod">
          <ac:chgData name="Strzyminski, Grzegorz" userId="0c1cb62d-c60a-4e4f-b918-a4b6f306529d" providerId="ADAL" clId="{66A1F496-8134-4EDD-B1EA-C464F666BCB6}" dt="2024-03-08T00:17:51.598" v="5006" actId="1076"/>
          <ac:picMkLst>
            <pc:docMk/>
            <pc:sldMk cId="2803393787" sldId="293"/>
            <ac:picMk id="19" creationId="{DE1561C5-E4F1-6738-EA27-424AE34D07E3}"/>
          </ac:picMkLst>
        </pc:picChg>
        <pc:picChg chg="add mod">
          <ac:chgData name="Strzyminski, Grzegorz" userId="0c1cb62d-c60a-4e4f-b918-a4b6f306529d" providerId="ADAL" clId="{66A1F496-8134-4EDD-B1EA-C464F666BCB6}" dt="2024-03-08T00:17:57.160" v="5007" actId="1076"/>
          <ac:picMkLst>
            <pc:docMk/>
            <pc:sldMk cId="2803393787" sldId="293"/>
            <ac:picMk id="20" creationId="{0DA43E63-47C0-51F5-E8DE-6D78ECF2ECCE}"/>
          </ac:picMkLst>
        </pc:picChg>
      </pc:sldChg>
      <pc:sldChg chg="addSp delSp modSp add mod ord">
        <pc:chgData name="Strzyminski, Grzegorz" userId="0c1cb62d-c60a-4e4f-b918-a4b6f306529d" providerId="ADAL" clId="{66A1F496-8134-4EDD-B1EA-C464F666BCB6}" dt="2024-03-08T00:29:28.711" v="5839"/>
        <pc:sldMkLst>
          <pc:docMk/>
          <pc:sldMk cId="1548674956" sldId="294"/>
        </pc:sldMkLst>
        <pc:spChg chg="add del mod modVis">
          <ac:chgData name="Strzyminski, Grzegorz" userId="0c1cb62d-c60a-4e4f-b918-a4b6f306529d" providerId="ADAL" clId="{66A1F496-8134-4EDD-B1EA-C464F666BCB6}" dt="2024-03-08T00:22:11.051" v="5211"/>
          <ac:spMkLst>
            <pc:docMk/>
            <pc:sldMk cId="1548674956" sldId="294"/>
            <ac:spMk id="2" creationId="{25B4EE5A-4DD6-7DC1-9A50-CADACD9DE1E0}"/>
          </ac:spMkLst>
        </pc:spChg>
        <pc:spChg chg="mod">
          <ac:chgData name="Strzyminski, Grzegorz" userId="0c1cb62d-c60a-4e4f-b918-a4b6f306529d" providerId="ADAL" clId="{66A1F496-8134-4EDD-B1EA-C464F666BCB6}" dt="2024-03-08T00:28:11.850" v="5789" actId="948"/>
          <ac:spMkLst>
            <pc:docMk/>
            <pc:sldMk cId="1548674956" sldId="294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8T00:22:16.526" v="5267"/>
          <ac:spMkLst>
            <pc:docMk/>
            <pc:sldMk cId="1548674956" sldId="294"/>
            <ac:spMk id="5" creationId="{12AAE3DE-6305-DF00-2677-56E1B07F7FEC}"/>
          </ac:spMkLst>
        </pc:spChg>
        <pc:spChg chg="add del mod modVis">
          <ac:chgData name="Strzyminski, Grzegorz" userId="0c1cb62d-c60a-4e4f-b918-a4b6f306529d" providerId="ADAL" clId="{66A1F496-8134-4EDD-B1EA-C464F666BCB6}" dt="2024-03-08T00:24:04.774" v="5301"/>
          <ac:spMkLst>
            <pc:docMk/>
            <pc:sldMk cId="1548674956" sldId="294"/>
            <ac:spMk id="7" creationId="{50133781-2F6E-F9E2-2F73-73F6DB990BBE}"/>
          </ac:spMkLst>
        </pc:spChg>
        <pc:spChg chg="add del mod modVis">
          <ac:chgData name="Strzyminski, Grzegorz" userId="0c1cb62d-c60a-4e4f-b918-a4b6f306529d" providerId="ADAL" clId="{66A1F496-8134-4EDD-B1EA-C464F666BCB6}" dt="2024-03-08T00:28:06.096" v="5781"/>
          <ac:spMkLst>
            <pc:docMk/>
            <pc:sldMk cId="1548674956" sldId="294"/>
            <ac:spMk id="8" creationId="{FDC6A61E-3A75-B91F-EC27-B343150C2A25}"/>
          </ac:spMkLst>
        </pc:spChg>
        <pc:spChg chg="add del mod modVis">
          <ac:chgData name="Strzyminski, Grzegorz" userId="0c1cb62d-c60a-4e4f-b918-a4b6f306529d" providerId="ADAL" clId="{66A1F496-8134-4EDD-B1EA-C464F666BCB6}" dt="2024-03-08T00:28:11.871" v="5812"/>
          <ac:spMkLst>
            <pc:docMk/>
            <pc:sldMk cId="1548674956" sldId="294"/>
            <ac:spMk id="9" creationId="{E5E6BA33-83E3-0AB2-D89E-0F7F2CFCDCF8}"/>
          </ac:spMkLst>
        </pc:spChg>
        <pc:spChg chg="mod">
          <ac:chgData name="Strzyminski, Grzegorz" userId="0c1cb62d-c60a-4e4f-b918-a4b6f306529d" providerId="ADAL" clId="{66A1F496-8134-4EDD-B1EA-C464F666BCB6}" dt="2024-03-08T00:28:31.910" v="5834" actId="20577"/>
          <ac:spMkLst>
            <pc:docMk/>
            <pc:sldMk cId="1548674956" sldId="294"/>
            <ac:spMk id="14" creationId="{A16ACA8C-02CB-51C5-DF04-C2CADEB2A9D1}"/>
          </ac:spMkLst>
        </pc:spChg>
        <pc:graphicFrameChg chg="mod">
          <ac:chgData name="Strzyminski, Grzegorz" userId="0c1cb62d-c60a-4e4f-b918-a4b6f306529d" providerId="ADAL" clId="{66A1F496-8134-4EDD-B1EA-C464F666BCB6}" dt="2024-03-08T00:28:11.871" v="5814"/>
          <ac:graphicFrameMkLst>
            <pc:docMk/>
            <pc:sldMk cId="1548674956" sldId="294"/>
            <ac:graphicFrameMk id="3" creationId="{4CCD9B1F-0AE0-45B5-3D63-515BED506B23}"/>
          </ac:graphicFrameMkLst>
        </pc:graphicFrameChg>
        <pc:picChg chg="add mod">
          <ac:chgData name="Strzyminski, Grzegorz" userId="0c1cb62d-c60a-4e4f-b918-a4b6f306529d" providerId="ADAL" clId="{66A1F496-8134-4EDD-B1EA-C464F666BCB6}" dt="2024-03-08T00:28:18.295" v="5826" actId="1036"/>
          <ac:picMkLst>
            <pc:docMk/>
            <pc:sldMk cId="1548674956" sldId="294"/>
            <ac:picMk id="6" creationId="{6EC0719E-F143-45D8-51C6-3C651588DE8E}"/>
          </ac:picMkLst>
        </pc:picChg>
        <pc:picChg chg="del">
          <ac:chgData name="Strzyminski, Grzegorz" userId="0c1cb62d-c60a-4e4f-b918-a4b6f306529d" providerId="ADAL" clId="{66A1F496-8134-4EDD-B1EA-C464F666BCB6}" dt="2024-03-08T00:22:19.693" v="5271" actId="478"/>
          <ac:picMkLst>
            <pc:docMk/>
            <pc:sldMk cId="1548674956" sldId="294"/>
            <ac:picMk id="18" creationId="{A5F7C888-BACC-77A1-FADB-3639E63E6C20}"/>
          </ac:picMkLst>
        </pc:picChg>
        <pc:picChg chg="del">
          <ac:chgData name="Strzyminski, Grzegorz" userId="0c1cb62d-c60a-4e4f-b918-a4b6f306529d" providerId="ADAL" clId="{66A1F496-8134-4EDD-B1EA-C464F666BCB6}" dt="2024-03-08T00:22:20.127" v="5272" actId="478"/>
          <ac:picMkLst>
            <pc:docMk/>
            <pc:sldMk cId="1548674956" sldId="294"/>
            <ac:picMk id="19" creationId="{DE1561C5-E4F1-6738-EA27-424AE34D07E3}"/>
          </ac:picMkLst>
        </pc:picChg>
        <pc:picChg chg="del">
          <ac:chgData name="Strzyminski, Grzegorz" userId="0c1cb62d-c60a-4e4f-b918-a4b6f306529d" providerId="ADAL" clId="{66A1F496-8134-4EDD-B1EA-C464F666BCB6}" dt="2024-03-08T00:22:18.432" v="5270" actId="478"/>
          <ac:picMkLst>
            <pc:docMk/>
            <pc:sldMk cId="1548674956" sldId="294"/>
            <ac:picMk id="20" creationId="{0DA43E63-47C0-51F5-E8DE-6D78ECF2ECCE}"/>
          </ac:picMkLst>
        </pc:picChg>
      </pc:sldChg>
      <pc:sldChg chg="addSp delSp modSp add mod ord">
        <pc:chgData name="Strzyminski, Grzegorz" userId="0c1cb62d-c60a-4e4f-b918-a4b6f306529d" providerId="ADAL" clId="{66A1F496-8134-4EDD-B1EA-C464F666BCB6}" dt="2024-03-08T00:38:47.430" v="6389"/>
        <pc:sldMkLst>
          <pc:docMk/>
          <pc:sldMk cId="1759742033" sldId="295"/>
        </pc:sldMkLst>
        <pc:spChg chg="mod">
          <ac:chgData name="Strzyminski, Grzegorz" userId="0c1cb62d-c60a-4e4f-b918-a4b6f306529d" providerId="ADAL" clId="{66A1F496-8134-4EDD-B1EA-C464F666BCB6}" dt="2024-03-08T00:33:19.400" v="6060" actId="948"/>
          <ac:spMkLst>
            <pc:docMk/>
            <pc:sldMk cId="1759742033" sldId="295"/>
            <ac:spMk id="4" creationId="{A0121CE1-AE8A-C285-EB49-0DF4545AADEB}"/>
          </ac:spMkLst>
        </pc:spChg>
        <pc:spChg chg="add del mod">
          <ac:chgData name="Strzyminski, Grzegorz" userId="0c1cb62d-c60a-4e4f-b918-a4b6f306529d" providerId="ADAL" clId="{66A1F496-8134-4EDD-B1EA-C464F666BCB6}" dt="2024-03-08T00:37:42.306" v="6346" actId="478"/>
          <ac:spMkLst>
            <pc:docMk/>
            <pc:sldMk cId="1759742033" sldId="295"/>
            <ac:spMk id="10" creationId="{0763D5D4-D4EE-0BF0-ABC2-C37763C695E1}"/>
          </ac:spMkLst>
        </pc:spChg>
        <pc:spChg chg="add del mod modVis">
          <ac:chgData name="Strzyminski, Grzegorz" userId="0c1cb62d-c60a-4e4f-b918-a4b6f306529d" providerId="ADAL" clId="{66A1F496-8134-4EDD-B1EA-C464F666BCB6}" dt="2024-03-08T00:32:51.544" v="5939"/>
          <ac:spMkLst>
            <pc:docMk/>
            <pc:sldMk cId="1759742033" sldId="295"/>
            <ac:spMk id="11" creationId="{5EBC77A6-6349-B8E2-6188-4E68198A4D5E}"/>
          </ac:spMkLst>
        </pc:spChg>
        <pc:spChg chg="add del mod modVis">
          <ac:chgData name="Strzyminski, Grzegorz" userId="0c1cb62d-c60a-4e4f-b918-a4b6f306529d" providerId="ADAL" clId="{66A1F496-8134-4EDD-B1EA-C464F666BCB6}" dt="2024-03-08T00:33:13.383" v="5986"/>
          <ac:spMkLst>
            <pc:docMk/>
            <pc:sldMk cId="1759742033" sldId="295"/>
            <ac:spMk id="12" creationId="{7D819A9F-FAD3-17D9-4C8B-16BB115D3DBC}"/>
          </ac:spMkLst>
        </pc:spChg>
        <pc:spChg chg="add del mod modVis">
          <ac:chgData name="Strzyminski, Grzegorz" userId="0c1cb62d-c60a-4e4f-b918-a4b6f306529d" providerId="ADAL" clId="{66A1F496-8134-4EDD-B1EA-C464F666BCB6}" dt="2024-03-08T00:33:16.473" v="6025"/>
          <ac:spMkLst>
            <pc:docMk/>
            <pc:sldMk cId="1759742033" sldId="295"/>
            <ac:spMk id="13" creationId="{2DF6CDA4-7CC1-0D4F-D285-747291452FC6}"/>
          </ac:spMkLst>
        </pc:spChg>
        <pc:spChg chg="mod">
          <ac:chgData name="Strzyminski, Grzegorz" userId="0c1cb62d-c60a-4e4f-b918-a4b6f306529d" providerId="ADAL" clId="{66A1F496-8134-4EDD-B1EA-C464F666BCB6}" dt="2024-03-08T00:38:14.810" v="6386" actId="20577"/>
          <ac:spMkLst>
            <pc:docMk/>
            <pc:sldMk cId="1759742033" sldId="295"/>
            <ac:spMk id="14" creationId="{A16ACA8C-02CB-51C5-DF04-C2CADEB2A9D1}"/>
          </ac:spMkLst>
        </pc:spChg>
        <pc:spChg chg="add del mod modVis">
          <ac:chgData name="Strzyminski, Grzegorz" userId="0c1cb62d-c60a-4e4f-b918-a4b6f306529d" providerId="ADAL" clId="{66A1F496-8134-4EDD-B1EA-C464F666BCB6}" dt="2024-03-08T00:33:17.675" v="6056"/>
          <ac:spMkLst>
            <pc:docMk/>
            <pc:sldMk cId="1759742033" sldId="295"/>
            <ac:spMk id="15" creationId="{C5B62E39-355D-ACE3-AA77-1CB2198B0396}"/>
          </ac:spMkLst>
        </pc:spChg>
        <pc:spChg chg="add del mod modVis">
          <ac:chgData name="Strzyminski, Grzegorz" userId="0c1cb62d-c60a-4e4f-b918-a4b6f306529d" providerId="ADAL" clId="{66A1F496-8134-4EDD-B1EA-C464F666BCB6}" dt="2024-03-08T00:33:19.416" v="6083"/>
          <ac:spMkLst>
            <pc:docMk/>
            <pc:sldMk cId="1759742033" sldId="295"/>
            <ac:spMk id="16" creationId="{8DE9517C-A501-50F1-966B-3973FB4B40CD}"/>
          </ac:spMkLst>
        </pc:spChg>
        <pc:grpChg chg="del">
          <ac:chgData name="Strzyminski, Grzegorz" userId="0c1cb62d-c60a-4e4f-b918-a4b6f306529d" providerId="ADAL" clId="{66A1F496-8134-4EDD-B1EA-C464F666BCB6}" dt="2024-03-08T00:31:32.500" v="5851" actId="478"/>
          <ac:grpSpMkLst>
            <pc:docMk/>
            <pc:sldMk cId="1759742033" sldId="295"/>
            <ac:grpSpMk id="2" creationId="{AAD2CE74-A555-76A6-CD39-C18E418DA6C7}"/>
          </ac:grpSpMkLst>
        </pc:grpChg>
        <pc:graphicFrameChg chg="mod">
          <ac:chgData name="Strzyminski, Grzegorz" userId="0c1cb62d-c60a-4e4f-b918-a4b6f306529d" providerId="ADAL" clId="{66A1F496-8134-4EDD-B1EA-C464F666BCB6}" dt="2024-03-08T00:33:19.416" v="6085"/>
          <ac:graphicFrameMkLst>
            <pc:docMk/>
            <pc:sldMk cId="1759742033" sldId="295"/>
            <ac:graphicFrameMk id="3" creationId="{4CCD9B1F-0AE0-45B5-3D63-515BED506B23}"/>
          </ac:graphicFrameMkLst>
        </pc:graphicFrameChg>
        <pc:picChg chg="add mod">
          <ac:chgData name="Strzyminski, Grzegorz" userId="0c1cb62d-c60a-4e4f-b918-a4b6f306529d" providerId="ADAL" clId="{66A1F496-8134-4EDD-B1EA-C464F666BCB6}" dt="2024-03-08T00:37:57.011" v="6356" actId="1076"/>
          <ac:picMkLst>
            <pc:docMk/>
            <pc:sldMk cId="1759742033" sldId="295"/>
            <ac:picMk id="17" creationId="{3507799D-E7CB-3E5E-E920-DB885A101883}"/>
          </ac:picMkLst>
        </pc:picChg>
      </pc:sldChg>
      <pc:sldChg chg="addSp delSp modSp add mod">
        <pc:chgData name="Strzyminski, Grzegorz" userId="0c1cb62d-c60a-4e4f-b918-a4b6f306529d" providerId="ADAL" clId="{66A1F496-8134-4EDD-B1EA-C464F666BCB6}" dt="2024-03-08T00:50:51.933" v="7346" actId="2085"/>
        <pc:sldMkLst>
          <pc:docMk/>
          <pc:sldMk cId="3773179573" sldId="296"/>
        </pc:sldMkLst>
        <pc:spChg chg="add del mod modVis">
          <ac:chgData name="Strzyminski, Grzegorz" userId="0c1cb62d-c60a-4e4f-b918-a4b6f306529d" providerId="ADAL" clId="{66A1F496-8134-4EDD-B1EA-C464F666BCB6}" dt="2024-03-08T00:47:43.967" v="7205"/>
          <ac:spMkLst>
            <pc:docMk/>
            <pc:sldMk cId="3773179573" sldId="296"/>
            <ac:spMk id="2" creationId="{F1B9CA8B-D42E-173C-BC4D-81CD19FE80C3}"/>
          </ac:spMkLst>
        </pc:spChg>
        <pc:spChg chg="mod">
          <ac:chgData name="Strzyminski, Grzegorz" userId="0c1cb62d-c60a-4e4f-b918-a4b6f306529d" providerId="ADAL" clId="{66A1F496-8134-4EDD-B1EA-C464F666BCB6}" dt="2024-03-08T00:47:55.028" v="7244" actId="948"/>
          <ac:spMkLst>
            <pc:docMk/>
            <pc:sldMk cId="3773179573" sldId="296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8T00:47:45.212" v="7235"/>
          <ac:spMkLst>
            <pc:docMk/>
            <pc:sldMk cId="3773179573" sldId="296"/>
            <ac:spMk id="5" creationId="{35F16CD9-FE6D-6C67-42ED-2971C3CA44F0}"/>
          </ac:spMkLst>
        </pc:spChg>
        <pc:spChg chg="add del mod modVis">
          <ac:chgData name="Strzyminski, Grzegorz" userId="0c1cb62d-c60a-4e4f-b918-a4b6f306529d" providerId="ADAL" clId="{66A1F496-8134-4EDD-B1EA-C464F666BCB6}" dt="2024-03-08T00:47:55.050" v="7267"/>
          <ac:spMkLst>
            <pc:docMk/>
            <pc:sldMk cId="3773179573" sldId="296"/>
            <ac:spMk id="6" creationId="{1FB7BA81-6A96-2F26-1147-F5C1F8A46086}"/>
          </ac:spMkLst>
        </pc:spChg>
        <pc:spChg chg="add del mod">
          <ac:chgData name="Strzyminski, Grzegorz" userId="0c1cb62d-c60a-4e4f-b918-a4b6f306529d" providerId="ADAL" clId="{66A1F496-8134-4EDD-B1EA-C464F666BCB6}" dt="2024-03-08T00:48:03.122" v="7271" actId="478"/>
          <ac:spMkLst>
            <pc:docMk/>
            <pc:sldMk cId="3773179573" sldId="296"/>
            <ac:spMk id="8" creationId="{2656CF72-6D18-2AD5-2CEB-C74C510B1871}"/>
          </ac:spMkLst>
        </pc:spChg>
        <pc:spChg chg="del">
          <ac:chgData name="Strzyminski, Grzegorz" userId="0c1cb62d-c60a-4e4f-b918-a4b6f306529d" providerId="ADAL" clId="{66A1F496-8134-4EDD-B1EA-C464F666BCB6}" dt="2024-03-08T00:48:01.280" v="7270" actId="478"/>
          <ac:spMkLst>
            <pc:docMk/>
            <pc:sldMk cId="3773179573" sldId="296"/>
            <ac:spMk id="14" creationId="{A16ACA8C-02CB-51C5-DF04-C2CADEB2A9D1}"/>
          </ac:spMkLst>
        </pc:spChg>
        <pc:spChg chg="mod">
          <ac:chgData name="Strzyminski, Grzegorz" userId="0c1cb62d-c60a-4e4f-b918-a4b6f306529d" providerId="ADAL" clId="{66A1F496-8134-4EDD-B1EA-C464F666BCB6}" dt="2024-03-08T00:48:52.482" v="7275" actId="208"/>
          <ac:spMkLst>
            <pc:docMk/>
            <pc:sldMk cId="3773179573" sldId="296"/>
            <ac:spMk id="16" creationId="{7FDB29D1-04C1-E76F-5123-C490538CC826}"/>
          </ac:spMkLst>
        </pc:spChg>
        <pc:spChg chg="mod">
          <ac:chgData name="Strzyminski, Grzegorz" userId="0c1cb62d-c60a-4e4f-b918-a4b6f306529d" providerId="ADAL" clId="{66A1F496-8134-4EDD-B1EA-C464F666BCB6}" dt="2024-03-08T00:50:51.933" v="7346" actId="2085"/>
          <ac:spMkLst>
            <pc:docMk/>
            <pc:sldMk cId="3773179573" sldId="296"/>
            <ac:spMk id="17" creationId="{E79D7FA3-7D20-BAE8-616A-31B1FD608B17}"/>
          </ac:spMkLst>
        </pc:spChg>
        <pc:spChg chg="mod">
          <ac:chgData name="Strzyminski, Grzegorz" userId="0c1cb62d-c60a-4e4f-b918-a4b6f306529d" providerId="ADAL" clId="{66A1F496-8134-4EDD-B1EA-C464F666BCB6}" dt="2024-03-08T00:48:35.771" v="7272"/>
          <ac:spMkLst>
            <pc:docMk/>
            <pc:sldMk cId="3773179573" sldId="296"/>
            <ac:spMk id="26" creationId="{0E0150D0-10ED-0863-D05B-6EE013391D82}"/>
          </ac:spMkLst>
        </pc:spChg>
        <pc:spChg chg="mod">
          <ac:chgData name="Strzyminski, Grzegorz" userId="0c1cb62d-c60a-4e4f-b918-a4b6f306529d" providerId="ADAL" clId="{66A1F496-8134-4EDD-B1EA-C464F666BCB6}" dt="2024-03-08T00:48:35.771" v="7272"/>
          <ac:spMkLst>
            <pc:docMk/>
            <pc:sldMk cId="3773179573" sldId="296"/>
            <ac:spMk id="28" creationId="{526E140A-9C24-DFB8-0777-CE74FCF61833}"/>
          </ac:spMkLst>
        </pc:spChg>
        <pc:spChg chg="mod">
          <ac:chgData name="Strzyminski, Grzegorz" userId="0c1cb62d-c60a-4e4f-b918-a4b6f306529d" providerId="ADAL" clId="{66A1F496-8134-4EDD-B1EA-C464F666BCB6}" dt="2024-03-08T00:48:35.771" v="7272"/>
          <ac:spMkLst>
            <pc:docMk/>
            <pc:sldMk cId="3773179573" sldId="296"/>
            <ac:spMk id="30" creationId="{00E759B7-7528-263B-D1E5-A8B66D59084C}"/>
          </ac:spMkLst>
        </pc:spChg>
        <pc:spChg chg="add mod">
          <ac:chgData name="Strzyminski, Grzegorz" userId="0c1cb62d-c60a-4e4f-b918-a4b6f306529d" providerId="ADAL" clId="{66A1F496-8134-4EDD-B1EA-C464F666BCB6}" dt="2024-03-08T00:50:36.172" v="7344" actId="1582"/>
          <ac:spMkLst>
            <pc:docMk/>
            <pc:sldMk cId="3773179573" sldId="296"/>
            <ac:spMk id="32" creationId="{7F48C5A9-E8FF-ECEB-F19C-7A343685A5BC}"/>
          </ac:spMkLst>
        </pc:spChg>
        <pc:spChg chg="add mod">
          <ac:chgData name="Strzyminski, Grzegorz" userId="0c1cb62d-c60a-4e4f-b918-a4b6f306529d" providerId="ADAL" clId="{66A1F496-8134-4EDD-B1EA-C464F666BCB6}" dt="2024-03-08T00:50:10.860" v="7341" actId="1076"/>
          <ac:spMkLst>
            <pc:docMk/>
            <pc:sldMk cId="3773179573" sldId="296"/>
            <ac:spMk id="33" creationId="{D59D340E-A7A5-002B-B9E3-891CBAC71CA0}"/>
          </ac:spMkLst>
        </pc:spChg>
        <pc:grpChg chg="add del mod">
          <ac:chgData name="Strzyminski, Grzegorz" userId="0c1cb62d-c60a-4e4f-b918-a4b6f306529d" providerId="ADAL" clId="{66A1F496-8134-4EDD-B1EA-C464F666BCB6}" dt="2024-03-08T00:50:41.563" v="7345" actId="1076"/>
          <ac:grpSpMkLst>
            <pc:docMk/>
            <pc:sldMk cId="3773179573" sldId="296"/>
            <ac:grpSpMk id="9" creationId="{A7AD96F2-3DC3-038F-1AFF-D67D9FA50BB1}"/>
          </ac:grpSpMkLst>
        </pc:grpChg>
        <pc:grpChg chg="mod">
          <ac:chgData name="Strzyminski, Grzegorz" userId="0c1cb62d-c60a-4e4f-b918-a4b6f306529d" providerId="ADAL" clId="{66A1F496-8134-4EDD-B1EA-C464F666BCB6}" dt="2024-03-08T00:48:35.771" v="7272"/>
          <ac:grpSpMkLst>
            <pc:docMk/>
            <pc:sldMk cId="3773179573" sldId="296"/>
            <ac:grpSpMk id="10" creationId="{ADCB204C-06E7-4E45-E96B-759664F743DC}"/>
          </ac:grpSpMkLst>
        </pc:grpChg>
        <pc:grpChg chg="mod">
          <ac:chgData name="Strzyminski, Grzegorz" userId="0c1cb62d-c60a-4e4f-b918-a4b6f306529d" providerId="ADAL" clId="{66A1F496-8134-4EDD-B1EA-C464F666BCB6}" dt="2024-03-08T00:48:35.771" v="7272"/>
          <ac:grpSpMkLst>
            <pc:docMk/>
            <pc:sldMk cId="3773179573" sldId="296"/>
            <ac:grpSpMk id="21" creationId="{3C5B329D-E262-F765-BD17-A8A81B9CE844}"/>
          </ac:grpSpMkLst>
        </pc:grpChg>
        <pc:grpChg chg="mod">
          <ac:chgData name="Strzyminski, Grzegorz" userId="0c1cb62d-c60a-4e4f-b918-a4b6f306529d" providerId="ADAL" clId="{66A1F496-8134-4EDD-B1EA-C464F666BCB6}" dt="2024-03-08T00:48:35.771" v="7272"/>
          <ac:grpSpMkLst>
            <pc:docMk/>
            <pc:sldMk cId="3773179573" sldId="296"/>
            <ac:grpSpMk id="23" creationId="{032BFB7F-C1C5-8613-E436-4AF5ABDD3AA1}"/>
          </ac:grpSpMkLst>
        </pc:grpChg>
        <pc:grpChg chg="mod">
          <ac:chgData name="Strzyminski, Grzegorz" userId="0c1cb62d-c60a-4e4f-b918-a4b6f306529d" providerId="ADAL" clId="{66A1F496-8134-4EDD-B1EA-C464F666BCB6}" dt="2024-03-08T00:48:35.771" v="7272"/>
          <ac:grpSpMkLst>
            <pc:docMk/>
            <pc:sldMk cId="3773179573" sldId="296"/>
            <ac:grpSpMk id="24" creationId="{59959606-4A16-8615-EA96-B4326B7C705F}"/>
          </ac:grpSpMkLst>
        </pc:grpChg>
        <pc:graphicFrameChg chg="mod">
          <ac:chgData name="Strzyminski, Grzegorz" userId="0c1cb62d-c60a-4e4f-b918-a4b6f306529d" providerId="ADAL" clId="{66A1F496-8134-4EDD-B1EA-C464F666BCB6}" dt="2024-03-08T00:47:55.050" v="7269"/>
          <ac:graphicFrameMkLst>
            <pc:docMk/>
            <pc:sldMk cId="3773179573" sldId="296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8T00:47:47" v="7238" actId="478"/>
          <ac:picMkLst>
            <pc:docMk/>
            <pc:sldMk cId="3773179573" sldId="296"/>
            <ac:picMk id="18" creationId="{A5F7C888-BACC-77A1-FADB-3639E63E6C20}"/>
          </ac:picMkLst>
        </pc:picChg>
        <pc:picChg chg="del">
          <ac:chgData name="Strzyminski, Grzegorz" userId="0c1cb62d-c60a-4e4f-b918-a4b6f306529d" providerId="ADAL" clId="{66A1F496-8134-4EDD-B1EA-C464F666BCB6}" dt="2024-03-08T00:47:47" v="7238" actId="478"/>
          <ac:picMkLst>
            <pc:docMk/>
            <pc:sldMk cId="3773179573" sldId="296"/>
            <ac:picMk id="19" creationId="{DE1561C5-E4F1-6738-EA27-424AE34D07E3}"/>
          </ac:picMkLst>
        </pc:picChg>
        <pc:picChg chg="del">
          <ac:chgData name="Strzyminski, Grzegorz" userId="0c1cb62d-c60a-4e4f-b918-a4b6f306529d" providerId="ADAL" clId="{66A1F496-8134-4EDD-B1EA-C464F666BCB6}" dt="2024-03-08T00:47:47" v="7238" actId="478"/>
          <ac:picMkLst>
            <pc:docMk/>
            <pc:sldMk cId="3773179573" sldId="296"/>
            <ac:picMk id="20" creationId="{0DA43E63-47C0-51F5-E8DE-6D78ECF2ECCE}"/>
          </ac:picMkLst>
        </pc:pic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11" creationId="{74B6C991-F31D-E3E5-4C0A-F1D6C0D8F212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12" creationId="{516425D6-7003-755A-BD0E-A0CB63291971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13" creationId="{35AC9EA7-578C-6020-EF72-28AC760DC778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15" creationId="{2B348227-F052-254A-EB8C-6CBA141E090A}"/>
          </ac:cxnSpMkLst>
        </pc:cxnChg>
        <pc:cxnChg chg="mod">
          <ac:chgData name="Strzyminski, Grzegorz" userId="0c1cb62d-c60a-4e4f-b918-a4b6f306529d" providerId="ADAL" clId="{66A1F496-8134-4EDD-B1EA-C464F666BCB6}" dt="2024-03-08T00:49:07.962" v="7277" actId="478"/>
          <ac:cxnSpMkLst>
            <pc:docMk/>
            <pc:sldMk cId="3773179573" sldId="296"/>
            <ac:cxnSpMk id="22" creationId="{4C4666B5-FC90-0996-AB24-635A8B896768}"/>
          </ac:cxnSpMkLst>
        </pc:cxnChg>
        <pc:cxnChg chg="mod">
          <ac:chgData name="Strzyminski, Grzegorz" userId="0c1cb62d-c60a-4e4f-b918-a4b6f306529d" providerId="ADAL" clId="{66A1F496-8134-4EDD-B1EA-C464F666BCB6}" dt="2024-03-08T00:49:07.962" v="7277" actId="478"/>
          <ac:cxnSpMkLst>
            <pc:docMk/>
            <pc:sldMk cId="3773179573" sldId="296"/>
            <ac:cxnSpMk id="25" creationId="{7A390E46-4BE9-C284-70F2-E237DF107C96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27" creationId="{0BF842CE-5C11-9EB0-0D77-78F636E0739A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29" creationId="{1976BA27-DBCC-40D9-2F2B-88B97C0C43C1}"/>
          </ac:cxnSpMkLst>
        </pc:cxnChg>
        <pc:cxnChg chg="mod">
          <ac:chgData name="Strzyminski, Grzegorz" userId="0c1cb62d-c60a-4e4f-b918-a4b6f306529d" providerId="ADAL" clId="{66A1F496-8134-4EDD-B1EA-C464F666BCB6}" dt="2024-03-08T00:48:35.771" v="7272"/>
          <ac:cxnSpMkLst>
            <pc:docMk/>
            <pc:sldMk cId="3773179573" sldId="296"/>
            <ac:cxnSpMk id="31" creationId="{1A107E2B-294A-90C6-4EE4-2C7B066801DB}"/>
          </ac:cxnSpMkLst>
        </pc:cxnChg>
      </pc:sldChg>
      <pc:sldChg chg="addSp delSp modSp add del mod">
        <pc:chgData name="Strzyminski, Grzegorz" userId="0c1cb62d-c60a-4e4f-b918-a4b6f306529d" providerId="ADAL" clId="{66A1F496-8134-4EDD-B1EA-C464F666BCB6}" dt="2024-03-08T00:55:59.382" v="7967" actId="47"/>
        <pc:sldMkLst>
          <pc:docMk/>
          <pc:sldMk cId="3944218220" sldId="297"/>
        </pc:sldMkLst>
        <pc:spChg chg="add del mod modVis">
          <ac:chgData name="Strzyminski, Grzegorz" userId="0c1cb62d-c60a-4e4f-b918-a4b6f306529d" providerId="ADAL" clId="{66A1F496-8134-4EDD-B1EA-C464F666BCB6}" dt="2024-03-08T00:51:50.274" v="7376"/>
          <ac:spMkLst>
            <pc:docMk/>
            <pc:sldMk cId="3944218220" sldId="297"/>
            <ac:spMk id="2" creationId="{BD150DDF-0B00-C81A-DEB5-2FCAF763453B}"/>
          </ac:spMkLst>
        </pc:spChg>
        <pc:spChg chg="mod">
          <ac:chgData name="Strzyminski, Grzegorz" userId="0c1cb62d-c60a-4e4f-b918-a4b6f306529d" providerId="ADAL" clId="{66A1F496-8134-4EDD-B1EA-C464F666BCB6}" dt="2024-03-08T00:52:51.128" v="7578" actId="948"/>
          <ac:spMkLst>
            <pc:docMk/>
            <pc:sldMk cId="3944218220" sldId="297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66A1F496-8134-4EDD-B1EA-C464F666BCB6}" dt="2024-03-08T00:51:51.507" v="7408"/>
          <ac:spMkLst>
            <pc:docMk/>
            <pc:sldMk cId="3944218220" sldId="297"/>
            <ac:spMk id="5" creationId="{88E33723-EBD5-1607-BF6B-4088C03771C0}"/>
          </ac:spMkLst>
        </pc:spChg>
        <pc:spChg chg="add del mod modVis">
          <ac:chgData name="Strzyminski, Grzegorz" userId="0c1cb62d-c60a-4e4f-b918-a4b6f306529d" providerId="ADAL" clId="{66A1F496-8134-4EDD-B1EA-C464F666BCB6}" dt="2024-03-08T00:51:54.059" v="7448"/>
          <ac:spMkLst>
            <pc:docMk/>
            <pc:sldMk cId="3944218220" sldId="297"/>
            <ac:spMk id="7" creationId="{2963F08F-26DF-ED98-C7B0-07E7AE2E316D}"/>
          </ac:spMkLst>
        </pc:spChg>
        <pc:spChg chg="add del mod modVis">
          <ac:chgData name="Strzyminski, Grzegorz" userId="0c1cb62d-c60a-4e4f-b918-a4b6f306529d" providerId="ADAL" clId="{66A1F496-8134-4EDD-B1EA-C464F666BCB6}" dt="2024-03-08T00:51:55.140" v="7478"/>
          <ac:spMkLst>
            <pc:docMk/>
            <pc:sldMk cId="3944218220" sldId="297"/>
            <ac:spMk id="8" creationId="{30C2EB42-E7AC-060B-12E1-8D11465F580D}"/>
          </ac:spMkLst>
        </pc:spChg>
        <pc:spChg chg="add del mod modVis">
          <ac:chgData name="Strzyminski, Grzegorz" userId="0c1cb62d-c60a-4e4f-b918-a4b6f306529d" providerId="ADAL" clId="{66A1F496-8134-4EDD-B1EA-C464F666BCB6}" dt="2024-03-08T00:51:55.800" v="7505"/>
          <ac:spMkLst>
            <pc:docMk/>
            <pc:sldMk cId="3944218220" sldId="297"/>
            <ac:spMk id="9" creationId="{6F171F66-9949-951C-A351-3B331E069485}"/>
          </ac:spMkLst>
        </pc:spChg>
        <pc:spChg chg="add del mod modVis">
          <ac:chgData name="Strzyminski, Grzegorz" userId="0c1cb62d-c60a-4e4f-b918-a4b6f306529d" providerId="ADAL" clId="{66A1F496-8134-4EDD-B1EA-C464F666BCB6}" dt="2024-03-08T00:52:45.993" v="7541"/>
          <ac:spMkLst>
            <pc:docMk/>
            <pc:sldMk cId="3944218220" sldId="297"/>
            <ac:spMk id="11" creationId="{B5979C67-CB04-E2A1-7ED2-42A740B7157B}"/>
          </ac:spMkLst>
        </pc:spChg>
        <pc:spChg chg="add del mod modVis">
          <ac:chgData name="Strzyminski, Grzegorz" userId="0c1cb62d-c60a-4e4f-b918-a4b6f306529d" providerId="ADAL" clId="{66A1F496-8134-4EDD-B1EA-C464F666BCB6}" dt="2024-03-08T00:52:46.905" v="7569"/>
          <ac:spMkLst>
            <pc:docMk/>
            <pc:sldMk cId="3944218220" sldId="297"/>
            <ac:spMk id="12" creationId="{4112ED9F-50F2-4379-8A7B-6FE47CA68028}"/>
          </ac:spMkLst>
        </pc:spChg>
        <pc:spChg chg="add del mod modVis">
          <ac:chgData name="Strzyminski, Grzegorz" userId="0c1cb62d-c60a-4e4f-b918-a4b6f306529d" providerId="ADAL" clId="{66A1F496-8134-4EDD-B1EA-C464F666BCB6}" dt="2024-03-08T00:52:51.137" v="7601"/>
          <ac:spMkLst>
            <pc:docMk/>
            <pc:sldMk cId="3944218220" sldId="297"/>
            <ac:spMk id="13" creationId="{DAD700D7-468B-B058-7E36-3F0CE2377B36}"/>
          </ac:spMkLst>
        </pc:spChg>
        <pc:spChg chg="mod">
          <ac:chgData name="Strzyminski, Grzegorz" userId="0c1cb62d-c60a-4e4f-b918-a4b6f306529d" providerId="ADAL" clId="{66A1F496-8134-4EDD-B1EA-C464F666BCB6}" dt="2024-03-08T00:55:43.372" v="7963" actId="20577"/>
          <ac:spMkLst>
            <pc:docMk/>
            <pc:sldMk cId="3944218220" sldId="297"/>
            <ac:spMk id="14" creationId="{A16ACA8C-02CB-51C5-DF04-C2CADEB2A9D1}"/>
          </ac:spMkLst>
        </pc:spChg>
        <pc:graphicFrameChg chg="mod">
          <ac:chgData name="Strzyminski, Grzegorz" userId="0c1cb62d-c60a-4e4f-b918-a4b6f306529d" providerId="ADAL" clId="{66A1F496-8134-4EDD-B1EA-C464F666BCB6}" dt="2024-03-08T00:52:51.137" v="7603"/>
          <ac:graphicFrameMkLst>
            <pc:docMk/>
            <pc:sldMk cId="3944218220" sldId="297"/>
            <ac:graphicFrameMk id="3" creationId="{4CCD9B1F-0AE0-45B5-3D63-515BED506B23}"/>
          </ac:graphicFrameMkLst>
        </pc:graphicFrameChg>
        <pc:picChg chg="del">
          <ac:chgData name="Strzyminski, Grzegorz" userId="0c1cb62d-c60a-4e4f-b918-a4b6f306529d" providerId="ADAL" clId="{66A1F496-8134-4EDD-B1EA-C464F666BCB6}" dt="2024-03-08T00:51:57.754" v="7508" actId="478"/>
          <ac:picMkLst>
            <pc:docMk/>
            <pc:sldMk cId="3944218220" sldId="297"/>
            <ac:picMk id="6" creationId="{6EC0719E-F143-45D8-51C6-3C651588DE8E}"/>
          </ac:picMkLst>
        </pc:picChg>
        <pc:picChg chg="add mod">
          <ac:chgData name="Strzyminski, Grzegorz" userId="0c1cb62d-c60a-4e4f-b918-a4b6f306529d" providerId="ADAL" clId="{66A1F496-8134-4EDD-B1EA-C464F666BCB6}" dt="2024-03-08T00:52:55.135" v="7622" actId="1036"/>
          <ac:picMkLst>
            <pc:docMk/>
            <pc:sldMk cId="3944218220" sldId="297"/>
            <ac:picMk id="10" creationId="{12F1A095-017D-037C-0F1D-7284738E362D}"/>
          </ac:picMkLst>
        </pc:picChg>
      </pc:sldChg>
      <pc:sldChg chg="addSp modSp add mod">
        <pc:chgData name="Strzyminski, Grzegorz" userId="0c1cb62d-c60a-4e4f-b918-a4b6f306529d" providerId="ADAL" clId="{66A1F496-8134-4EDD-B1EA-C464F666BCB6}" dt="2024-03-08T01:04:49.206" v="8454" actId="20577"/>
        <pc:sldMkLst>
          <pc:docMk/>
          <pc:sldMk cId="2778373793" sldId="298"/>
        </pc:sldMkLst>
        <pc:spChg chg="add mod">
          <ac:chgData name="Strzyminski, Grzegorz" userId="0c1cb62d-c60a-4e4f-b918-a4b6f306529d" providerId="ADAL" clId="{66A1F496-8134-4EDD-B1EA-C464F666BCB6}" dt="2024-03-08T01:00:19.966" v="7986" actId="1076"/>
          <ac:spMkLst>
            <pc:docMk/>
            <pc:sldMk cId="2778373793" sldId="298"/>
            <ac:spMk id="2" creationId="{650D2CD8-3553-AA93-D283-8F5F3CC850B3}"/>
          </ac:spMkLst>
        </pc:spChg>
        <pc:spChg chg="mod">
          <ac:chgData name="Strzyminski, Grzegorz" userId="0c1cb62d-c60a-4e4f-b918-a4b6f306529d" providerId="ADAL" clId="{66A1F496-8134-4EDD-B1EA-C464F666BCB6}" dt="2024-03-08T01:04:49.206" v="8454" actId="20577"/>
          <ac:spMkLst>
            <pc:docMk/>
            <pc:sldMk cId="2778373793" sldId="298"/>
            <ac:spMk id="14" creationId="{A16ACA8C-02CB-51C5-DF04-C2CADEB2A9D1}"/>
          </ac:spMkLst>
        </pc:spChg>
      </pc:sldChg>
      <pc:sldChg chg="addSp modSp add mod">
        <pc:chgData name="Strzyminski, Grzegorz" userId="0c1cb62d-c60a-4e4f-b918-a4b6f306529d" providerId="ADAL" clId="{66A1F496-8134-4EDD-B1EA-C464F666BCB6}" dt="2024-03-08T01:00:27.958" v="7990" actId="1076"/>
        <pc:sldMkLst>
          <pc:docMk/>
          <pc:sldMk cId="4020222021" sldId="299"/>
        </pc:sldMkLst>
        <pc:spChg chg="add mod">
          <ac:chgData name="Strzyminski, Grzegorz" userId="0c1cb62d-c60a-4e4f-b918-a4b6f306529d" providerId="ADAL" clId="{66A1F496-8134-4EDD-B1EA-C464F666BCB6}" dt="2024-03-08T01:00:27.958" v="7990" actId="1076"/>
          <ac:spMkLst>
            <pc:docMk/>
            <pc:sldMk cId="4020222021" sldId="299"/>
            <ac:spMk id="2" creationId="{346DEFCB-3FB3-E693-4105-FAA57AD51F54}"/>
          </ac:spMkLst>
        </pc:spChg>
      </pc:sldChg>
      <pc:sldChg chg="addSp delSp modSp add del">
        <pc:chgData name="Strzyminski, Grzegorz" userId="0c1cb62d-c60a-4e4f-b918-a4b6f306529d" providerId="ADAL" clId="{66A1F496-8134-4EDD-B1EA-C464F666BCB6}" dt="2024-03-08T01:05:35.556" v="8458" actId="47"/>
        <pc:sldMkLst>
          <pc:docMk/>
          <pc:sldMk cId="2542761885" sldId="300"/>
        </pc:sldMkLst>
        <pc:spChg chg="add del mod">
          <ac:chgData name="Strzyminski, Grzegorz" userId="0c1cb62d-c60a-4e4f-b918-a4b6f306529d" providerId="ADAL" clId="{66A1F496-8134-4EDD-B1EA-C464F666BCB6}" dt="2024-03-08T01:05:30.232" v="8457"/>
          <ac:spMkLst>
            <pc:docMk/>
            <pc:sldMk cId="2542761885" sldId="300"/>
            <ac:spMk id="5" creationId="{ED8DCE5D-8EAC-3D23-9681-B08FB27D3B0B}"/>
          </ac:spMkLst>
        </pc:spChg>
      </pc:sldChg>
      <pc:sldMasterChg chg="addSp delSp modSp mod">
        <pc:chgData name="Strzyminski, Grzegorz" userId="0c1cb62d-c60a-4e4f-b918-a4b6f306529d" providerId="ADAL" clId="{66A1F496-8134-4EDD-B1EA-C464F666BCB6}" dt="2024-03-04T17:02:43.924" v="490"/>
        <pc:sldMasterMkLst>
          <pc:docMk/>
          <pc:sldMasterMk cId="4048865771" sldId="2147483663"/>
        </pc:sldMasterMkLst>
        <pc:spChg chg="mod">
          <ac:chgData name="Strzyminski, Grzegorz" userId="0c1cb62d-c60a-4e4f-b918-a4b6f306529d" providerId="ADAL" clId="{66A1F496-8134-4EDD-B1EA-C464F666BCB6}" dt="2024-03-04T17:02:43.851" v="435" actId="948"/>
          <ac:spMkLst>
            <pc:docMk/>
            <pc:sldMasterMk cId="4048865771" sldId="2147483663"/>
            <ac:spMk id="2" creationId="{205EAE9A-804E-34D7-4C5B-C7A082CE1634}"/>
          </ac:spMkLst>
        </pc:spChg>
        <pc:spChg chg="add del mod modVis">
          <ac:chgData name="Strzyminski, Grzegorz" userId="0c1cb62d-c60a-4e4f-b918-a4b6f306529d" providerId="ADAL" clId="{66A1F496-8134-4EDD-B1EA-C464F666BCB6}" dt="2024-03-04T17:02:43.904" v="475"/>
          <ac:spMkLst>
            <pc:docMk/>
            <pc:sldMasterMk cId="4048865771" sldId="2147483663"/>
            <ac:spMk id="7" creationId="{D469BB94-C807-AB34-7AA7-CA1A5E7CBEC3}"/>
          </ac:spMkLst>
        </pc:spChg>
        <pc:graphicFrameChg chg="add mod ord modVis replST">
          <ac:chgData name="Strzyminski, Grzegorz" userId="0c1cb62d-c60a-4e4f-b918-a4b6f306529d" providerId="ADAL" clId="{66A1F496-8134-4EDD-B1EA-C464F666BCB6}" dt="2024-03-04T17:02:43.924" v="490"/>
          <ac:graphicFrameMkLst>
            <pc:docMk/>
            <pc:sldMasterMk cId="4048865771" sldId="2147483663"/>
            <ac:graphicFrameMk id="8" creationId="{338F6639-99BA-8D06-3BD0-9EC892B3BF26}"/>
          </ac:graphicFrameMkLst>
        </pc:graphicFrameChg>
      </pc:sldMasterChg>
    </pc:docChg>
  </pc:docChgLst>
  <pc:docChgLst>
    <pc:chgData name="Guest User" userId="S::urn:spo:anon#d6aa5d302ca57d1c4d5e2b0812f7fc53f0e9aef6a7fc90fd628ea351c5a1638b::" providerId="AD" clId="Web-{510EFF28-4231-4117-AD53-EFB9B8B5EA71}"/>
    <pc:docChg chg="modSld">
      <pc:chgData name="Guest User" userId="S::urn:spo:anon#d6aa5d302ca57d1c4d5e2b0812f7fc53f0e9aef6a7fc90fd628ea351c5a1638b::" providerId="AD" clId="Web-{510EFF28-4231-4117-AD53-EFB9B8B5EA71}" dt="2023-02-14T18:44:26.048" v="3" actId="1076"/>
      <pc:docMkLst>
        <pc:docMk/>
      </pc:docMkLst>
      <pc:sldChg chg="addSp delSp modSp">
        <pc:chgData name="Guest User" userId="S::urn:spo:anon#d6aa5d302ca57d1c4d5e2b0812f7fc53f0e9aef6a7fc90fd628ea351c5a1638b::" providerId="AD" clId="Web-{510EFF28-4231-4117-AD53-EFB9B8B5EA71}" dt="2023-02-14T18:44:26.048" v="3" actId="1076"/>
        <pc:sldMkLst>
          <pc:docMk/>
          <pc:sldMk cId="1295083531" sldId="272"/>
        </pc:sldMkLst>
        <pc:grpChg chg="del">
          <ac:chgData name="Guest User" userId="S::urn:spo:anon#d6aa5d302ca57d1c4d5e2b0812f7fc53f0e9aef6a7fc90fd628ea351c5a1638b::" providerId="AD" clId="Web-{510EFF28-4231-4117-AD53-EFB9B8B5EA71}" dt="2023-02-14T18:44:13.641" v="2"/>
          <ac:grpSpMkLst>
            <pc:docMk/>
            <pc:sldMk cId="1295083531" sldId="272"/>
            <ac:grpSpMk id="49" creationId="{635BDFFB-634F-DD51-6CAB-61109C5DC2C9}"/>
          </ac:grpSpMkLst>
        </pc:grpChg>
        <pc:picChg chg="add mod">
          <ac:chgData name="Guest User" userId="S::urn:spo:anon#d6aa5d302ca57d1c4d5e2b0812f7fc53f0e9aef6a7fc90fd628ea351c5a1638b::" providerId="AD" clId="Web-{510EFF28-4231-4117-AD53-EFB9B8B5EA71}" dt="2023-02-14T18:44:26.048" v="3" actId="1076"/>
          <ac:picMkLst>
            <pc:docMk/>
            <pc:sldMk cId="1295083531" sldId="272"/>
            <ac:picMk id="2" creationId="{2212CDC1-1447-088F-2773-38204767A71A}"/>
          </ac:picMkLst>
        </pc:picChg>
      </pc:sldChg>
    </pc:docChg>
  </pc:docChgLst>
  <pc:docChgLst>
    <pc:chgData name="Lonneke Opsteegh" userId="ec2a11b1-c5a7-4109-83b7-7550d0e8e4d6" providerId="ADAL" clId="{CD47201A-FAFC-40CE-909D-D389533DE89E}"/>
    <pc:docChg chg="undo custSel addSld delSld modSld modMainMaster addSection modSection">
      <pc:chgData name="Lonneke Opsteegh" userId="ec2a11b1-c5a7-4109-83b7-7550d0e8e4d6" providerId="ADAL" clId="{CD47201A-FAFC-40CE-909D-D389533DE89E}" dt="2024-02-25T18:52:54.815" v="464" actId="1076"/>
      <pc:docMkLst>
        <pc:docMk/>
      </pc:docMkLst>
      <pc:sldChg chg="addSp delSp modSp mod">
        <pc:chgData name="Lonneke Opsteegh" userId="ec2a11b1-c5a7-4109-83b7-7550d0e8e4d6" providerId="ADAL" clId="{CD47201A-FAFC-40CE-909D-D389533DE89E}" dt="2024-02-25T18:52:54.815" v="464" actId="1076"/>
        <pc:sldMkLst>
          <pc:docMk/>
          <pc:sldMk cId="1679404494" sldId="270"/>
        </pc:sldMkLst>
        <pc:spChg chg="mod">
          <ac:chgData name="Lonneke Opsteegh" userId="ec2a11b1-c5a7-4109-83b7-7550d0e8e4d6" providerId="ADAL" clId="{CD47201A-FAFC-40CE-909D-D389533DE89E}" dt="2024-02-25T18:52:54.815" v="464" actId="1076"/>
          <ac:spMkLst>
            <pc:docMk/>
            <pc:sldMk cId="1679404494" sldId="270"/>
            <ac:spMk id="4" creationId="{826FE342-87B7-A648-C038-40C65EFCF64A}"/>
          </ac:spMkLst>
        </pc:spChg>
        <pc:spChg chg="del">
          <ac:chgData name="Lonneke Opsteegh" userId="ec2a11b1-c5a7-4109-83b7-7550d0e8e4d6" providerId="ADAL" clId="{CD47201A-FAFC-40CE-909D-D389533DE89E}" dt="2024-02-25T18:51:31.389" v="422"/>
          <ac:spMkLst>
            <pc:docMk/>
            <pc:sldMk cId="1679404494" sldId="270"/>
            <ac:spMk id="5" creationId="{516765B0-8A53-B553-47C5-E860A6C0965B}"/>
          </ac:spMkLst>
        </pc:spChg>
        <pc:spChg chg="del">
          <ac:chgData name="Lonneke Opsteegh" userId="ec2a11b1-c5a7-4109-83b7-7550d0e8e4d6" providerId="ADAL" clId="{CD47201A-FAFC-40CE-909D-D389533DE89E}" dt="2024-02-25T18:51:35.144" v="423"/>
          <ac:spMkLst>
            <pc:docMk/>
            <pc:sldMk cId="1679404494" sldId="270"/>
            <ac:spMk id="6" creationId="{8C2D4B2B-6E10-5C72-9D5B-F15E0B34AFA1}"/>
          </ac:spMkLst>
        </pc:spChg>
        <pc:spChg chg="add mod">
          <ac:chgData name="Lonneke Opsteegh" userId="ec2a11b1-c5a7-4109-83b7-7550d0e8e4d6" providerId="ADAL" clId="{CD47201A-FAFC-40CE-909D-D389533DE89E}" dt="2024-02-25T18:52:52.022" v="463" actId="1076"/>
          <ac:spMkLst>
            <pc:docMk/>
            <pc:sldMk cId="1679404494" sldId="270"/>
            <ac:spMk id="9" creationId="{D98311A2-297F-2216-52B7-5243C23DB863}"/>
          </ac:spMkLst>
        </pc:spChg>
        <pc:spChg chg="add mod">
          <ac:chgData name="Lonneke Opsteegh" userId="ec2a11b1-c5a7-4109-83b7-7550d0e8e4d6" providerId="ADAL" clId="{CD47201A-FAFC-40CE-909D-D389533DE89E}" dt="2024-02-25T18:51:51.667" v="453" actId="571"/>
          <ac:spMkLst>
            <pc:docMk/>
            <pc:sldMk cId="1679404494" sldId="270"/>
            <ac:spMk id="10" creationId="{E8FB4C0D-91A7-F123-F2A4-ACDFC24B0AC0}"/>
          </ac:spMkLst>
        </pc:spChg>
        <pc:picChg chg="add mod">
          <ac:chgData name="Lonneke Opsteegh" userId="ec2a11b1-c5a7-4109-83b7-7550d0e8e4d6" providerId="ADAL" clId="{CD47201A-FAFC-40CE-909D-D389533DE89E}" dt="2024-02-25T18:52:54.815" v="464" actId="1076"/>
          <ac:picMkLst>
            <pc:docMk/>
            <pc:sldMk cId="1679404494" sldId="270"/>
            <ac:picMk id="3" creationId="{D9811995-11BE-4A5F-1BA1-C77131ECA1F4}"/>
          </ac:picMkLst>
        </pc:picChg>
        <pc:picChg chg="add mod">
          <ac:chgData name="Lonneke Opsteegh" userId="ec2a11b1-c5a7-4109-83b7-7550d0e8e4d6" providerId="ADAL" clId="{CD47201A-FAFC-40CE-909D-D389533DE89E}" dt="2024-02-25T18:52:52.022" v="463" actId="1076"/>
          <ac:picMkLst>
            <pc:docMk/>
            <pc:sldMk cId="1679404494" sldId="270"/>
            <ac:picMk id="8" creationId="{69DA9BB0-4EAA-EC63-F821-5028650B7090}"/>
          </ac:picMkLst>
        </pc:picChg>
      </pc:sldChg>
      <pc:sldChg chg="addSp delSp modSp mod">
        <pc:chgData name="Lonneke Opsteegh" userId="ec2a11b1-c5a7-4109-83b7-7550d0e8e4d6" providerId="ADAL" clId="{CD47201A-FAFC-40CE-909D-D389533DE89E}" dt="2024-02-24T12:16:33.935" v="421" actId="1036"/>
        <pc:sldMkLst>
          <pc:docMk/>
          <pc:sldMk cId="4164166654" sldId="271"/>
        </pc:sldMkLst>
        <pc:spChg chg="del">
          <ac:chgData name="Lonneke Opsteegh" userId="ec2a11b1-c5a7-4109-83b7-7550d0e8e4d6" providerId="ADAL" clId="{CD47201A-FAFC-40CE-909D-D389533DE89E}" dt="2024-02-24T11:47:06.072" v="42" actId="478"/>
          <ac:spMkLst>
            <pc:docMk/>
            <pc:sldMk cId="4164166654" sldId="271"/>
            <ac:spMk id="2" creationId="{B3F743F7-4747-8EEE-A510-3F4205A076B3}"/>
          </ac:spMkLst>
        </pc:spChg>
        <pc:spChg chg="add mod">
          <ac:chgData name="Lonneke Opsteegh" userId="ec2a11b1-c5a7-4109-83b7-7550d0e8e4d6" providerId="ADAL" clId="{CD47201A-FAFC-40CE-909D-D389533DE89E}" dt="2024-02-24T12:08:04.325" v="267" actId="14100"/>
          <ac:spMkLst>
            <pc:docMk/>
            <pc:sldMk cId="4164166654" sldId="271"/>
            <ac:spMk id="3" creationId="{BA6B785E-0482-4DE9-6411-B9F0011702EC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8" creationId="{C033C121-0D0A-F331-64B5-45EC74BE782D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20" creationId="{BBCC6CC4-E3D2-9D47-04B2-8B0AD19BFE75}"/>
          </ac:spMkLst>
        </pc:spChg>
        <pc:spChg chg="add mod">
          <ac:chgData name="Lonneke Opsteegh" userId="ec2a11b1-c5a7-4109-83b7-7550d0e8e4d6" providerId="ADAL" clId="{CD47201A-FAFC-40CE-909D-D389533DE89E}" dt="2024-02-24T12:15:14.327" v="400" actId="1076"/>
          <ac:spMkLst>
            <pc:docMk/>
            <pc:sldMk cId="4164166654" sldId="271"/>
            <ac:spMk id="21" creationId="{E5775597-B16D-66C8-0585-F5115C1EBCCE}"/>
          </ac:spMkLst>
        </pc:spChg>
        <pc:spChg chg="add mod">
          <ac:chgData name="Lonneke Opsteegh" userId="ec2a11b1-c5a7-4109-83b7-7550d0e8e4d6" providerId="ADAL" clId="{CD47201A-FAFC-40CE-909D-D389533DE89E}" dt="2024-02-24T12:15:10.397" v="399" actId="1076"/>
          <ac:spMkLst>
            <pc:docMk/>
            <pc:sldMk cId="4164166654" sldId="271"/>
            <ac:spMk id="32" creationId="{B0BFFB9E-561A-A56B-2797-A16C36EC0D8C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50" creationId="{BE8CE4B8-A71E-6E4B-82A7-FB2D3ACC0CC7}"/>
          </ac:spMkLst>
        </pc:spChg>
        <pc:picChg chg="add mod modCrop">
          <ac:chgData name="Lonneke Opsteegh" userId="ec2a11b1-c5a7-4109-83b7-7550d0e8e4d6" providerId="ADAL" clId="{CD47201A-FAFC-40CE-909D-D389533DE89E}" dt="2024-02-24T12:16:33.935" v="421" actId="1036"/>
          <ac:picMkLst>
            <pc:docMk/>
            <pc:sldMk cId="4164166654" sldId="271"/>
            <ac:picMk id="5" creationId="{84A46512-9C20-0113-82A3-9BD1442FF106}"/>
          </ac:picMkLst>
        </pc:picChg>
        <pc:picChg chg="add mod modCrop">
          <ac:chgData name="Lonneke Opsteegh" userId="ec2a11b1-c5a7-4109-83b7-7550d0e8e4d6" providerId="ADAL" clId="{CD47201A-FAFC-40CE-909D-D389533DE89E}" dt="2024-02-24T12:16:24.725" v="414" actId="1076"/>
          <ac:picMkLst>
            <pc:docMk/>
            <pc:sldMk cId="4164166654" sldId="271"/>
            <ac:picMk id="7" creationId="{F4725450-C220-AD50-15F1-81D9DA7A62B9}"/>
          </ac:picMkLst>
        </pc:picChg>
        <pc:picChg chg="add del mod">
          <ac:chgData name="Lonneke Opsteegh" userId="ec2a11b1-c5a7-4109-83b7-7550d0e8e4d6" providerId="ADAL" clId="{CD47201A-FAFC-40CE-909D-D389533DE89E}" dt="2024-02-24T11:48:59.253" v="82" actId="478"/>
          <ac:picMkLst>
            <pc:docMk/>
            <pc:sldMk cId="4164166654" sldId="271"/>
            <ac:picMk id="12" creationId="{C9545D68-7471-218C-007E-D0BE4BD74912}"/>
          </ac:picMkLst>
        </pc:picChg>
        <pc:picChg chg="add mod">
          <ac:chgData name="Lonneke Opsteegh" userId="ec2a11b1-c5a7-4109-83b7-7550d0e8e4d6" providerId="ADAL" clId="{CD47201A-FAFC-40CE-909D-D389533DE89E}" dt="2024-02-24T12:16:01.543" v="408" actId="12789"/>
          <ac:picMkLst>
            <pc:docMk/>
            <pc:sldMk cId="4164166654" sldId="271"/>
            <ac:picMk id="14" creationId="{7A619FB7-7286-888D-0D77-A05D2D680A6E}"/>
          </ac:picMkLst>
        </pc:picChg>
        <pc:picChg chg="add mod">
          <ac:chgData name="Lonneke Opsteegh" userId="ec2a11b1-c5a7-4109-83b7-7550d0e8e4d6" providerId="ADAL" clId="{CD47201A-FAFC-40CE-909D-D389533DE89E}" dt="2024-02-24T12:16:16.181" v="411" actId="1076"/>
          <ac:picMkLst>
            <pc:docMk/>
            <pc:sldMk cId="4164166654" sldId="271"/>
            <ac:picMk id="17" creationId="{9580D8A2-A060-1388-C921-DBA6B44239F6}"/>
          </ac:picMkLst>
        </pc:picChg>
        <pc:picChg chg="add mod">
          <ac:chgData name="Lonneke Opsteegh" userId="ec2a11b1-c5a7-4109-83b7-7550d0e8e4d6" providerId="ADAL" clId="{CD47201A-FAFC-40CE-909D-D389533DE89E}" dt="2024-02-24T12:16:14.125" v="410" actId="1076"/>
          <ac:picMkLst>
            <pc:docMk/>
            <pc:sldMk cId="4164166654" sldId="271"/>
            <ac:picMk id="19" creationId="{A831BC41-03F3-2CA9-393C-237251A5E23F}"/>
          </ac:picMkLst>
        </pc:picChg>
        <pc:picChg chg="add mod">
          <ac:chgData name="Lonneke Opsteegh" userId="ec2a11b1-c5a7-4109-83b7-7550d0e8e4d6" providerId="ADAL" clId="{CD47201A-FAFC-40CE-909D-D389533DE89E}" dt="2024-02-24T12:15:39.119" v="404" actId="12789"/>
          <ac:picMkLst>
            <pc:docMk/>
            <pc:sldMk cId="4164166654" sldId="271"/>
            <ac:picMk id="24" creationId="{120E498A-9D96-F278-8F94-FFBA44908B46}"/>
          </ac:picMkLst>
        </pc:picChg>
        <pc:picChg chg="add del mod">
          <ac:chgData name="Lonneke Opsteegh" userId="ec2a11b1-c5a7-4109-83b7-7550d0e8e4d6" providerId="ADAL" clId="{CD47201A-FAFC-40CE-909D-D389533DE89E}" dt="2024-02-24T11:57:40.261" v="132" actId="478"/>
          <ac:picMkLst>
            <pc:docMk/>
            <pc:sldMk cId="4164166654" sldId="271"/>
            <ac:picMk id="26" creationId="{C399FE50-7D4F-AA0C-CF69-00679473E86C}"/>
          </ac:picMkLst>
        </pc:picChg>
        <pc:picChg chg="add mod">
          <ac:chgData name="Lonneke Opsteegh" userId="ec2a11b1-c5a7-4109-83b7-7550d0e8e4d6" providerId="ADAL" clId="{CD47201A-FAFC-40CE-909D-D389533DE89E}" dt="2024-02-24T12:16:19.150" v="412" actId="1076"/>
          <ac:picMkLst>
            <pc:docMk/>
            <pc:sldMk cId="4164166654" sldId="271"/>
            <ac:picMk id="28" creationId="{C27C52F9-234C-7D21-E921-17A884A27CEE}"/>
          </ac:picMkLst>
        </pc:picChg>
        <pc:picChg chg="add mod modCrop">
          <ac:chgData name="Lonneke Opsteegh" userId="ec2a11b1-c5a7-4109-83b7-7550d0e8e4d6" providerId="ADAL" clId="{CD47201A-FAFC-40CE-909D-D389533DE89E}" dt="2024-02-24T12:16:11.254" v="409" actId="1076"/>
          <ac:picMkLst>
            <pc:docMk/>
            <pc:sldMk cId="4164166654" sldId="271"/>
            <ac:picMk id="30" creationId="{04B3C470-5C48-05DA-9CB4-A9BEC2AA92D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4" creationId="{CE31F379-2A34-E5B4-F957-C17E1224BE21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6" creationId="{5DF01228-2F86-AA52-A385-6DFDE245107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8" creationId="{CE30AA9C-A035-56D9-62C7-17E3FDB4376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40" creationId="{3F9E3CED-F584-977D-10D0-70DEE66AF3FC}"/>
          </ac:picMkLst>
        </pc:picChg>
        <pc:picChg chg="add mod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2" creationId="{705E362F-52CC-943E-5D72-D502C7F8D7D6}"/>
          </ac:picMkLst>
        </pc:picChg>
        <pc:picChg chg="add mod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4" creationId="{1BB2B881-EFF3-86B1-DBB3-F12C76A27CB1}"/>
          </ac:picMkLst>
        </pc:picChg>
        <pc:picChg chg="add mod modCrop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6" creationId="{16FF4C20-27CE-4760-DBC9-E7AD76F12F8F}"/>
          </ac:picMkLst>
        </pc:picChg>
        <pc:picChg chg="add mod modCrop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8" creationId="{EFDCEB3E-0E53-D67F-F670-C80852C79792}"/>
          </ac:picMkLst>
        </pc:picChg>
        <pc:picChg chg="add mod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2" creationId="{D0D3F962-3CB0-12E5-C953-EE7BAE11B2EA}"/>
          </ac:picMkLst>
        </pc:picChg>
        <pc:picChg chg="add mod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4" creationId="{78B960F1-F13D-4475-45A6-D23D48D9A879}"/>
          </ac:picMkLst>
        </pc:picChg>
        <pc:picChg chg="add mod modCrop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6" creationId="{9DA0D8BA-25B2-8045-A7C7-93191936E0D4}"/>
          </ac:picMkLst>
        </pc:picChg>
        <pc:picChg chg="add mod modCrop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8" creationId="{27C0BCFA-494B-2746-39BB-AA21DE9159BD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0" creationId="{353C86F7-81BC-A6BD-3CB7-6DFB1F7D3B21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2" creationId="{498229BB-2429-DC97-817E-B477DE115ED0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4" creationId="{0B0724BC-D9D7-7CE3-2DF8-68C9A1050241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6" creationId="{5122EDB4-FF50-CB8B-6143-353367DE18EE}"/>
          </ac:picMkLst>
        </pc:picChg>
        <pc:picChg chg="add mod modCrop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68" creationId="{B87F7FA3-CDB4-9777-D342-090B91286476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0" creationId="{225CE224-217E-B15A-39CD-3A814B7E31C5}"/>
          </ac:picMkLst>
        </pc:picChg>
        <pc:picChg chg="add del mod">
          <ac:chgData name="Lonneke Opsteegh" userId="ec2a11b1-c5a7-4109-83b7-7550d0e8e4d6" providerId="ADAL" clId="{CD47201A-FAFC-40CE-909D-D389533DE89E}" dt="2024-02-24T12:12:42.582" v="362" actId="478"/>
          <ac:picMkLst>
            <pc:docMk/>
            <pc:sldMk cId="4164166654" sldId="271"/>
            <ac:picMk id="72" creationId="{4D523F8F-823E-F5FA-9957-6EC3DF90205D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4" creationId="{9524B1F2-46EE-091D-F62D-9F0E49C11558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6" creationId="{92DE153F-54E7-F973-2517-447BBBC62E7C}"/>
          </ac:picMkLst>
        </pc:picChg>
        <pc:picChg chg="add mod">
          <ac:chgData name="Lonneke Opsteegh" userId="ec2a11b1-c5a7-4109-83b7-7550d0e8e4d6" providerId="ADAL" clId="{CD47201A-FAFC-40CE-909D-D389533DE89E}" dt="2024-02-24T12:12:53.089" v="366" actId="571"/>
          <ac:picMkLst>
            <pc:docMk/>
            <pc:sldMk cId="4164166654" sldId="271"/>
            <ac:picMk id="77" creationId="{92F59C5B-967A-24A0-BDB2-AE2DF7925F20}"/>
          </ac:picMkLst>
        </pc:picChg>
        <pc:picChg chg="add mod">
          <ac:chgData name="Lonneke Opsteegh" userId="ec2a11b1-c5a7-4109-83b7-7550d0e8e4d6" providerId="ADAL" clId="{CD47201A-FAFC-40CE-909D-D389533DE89E}" dt="2024-02-24T12:12:53.089" v="366" actId="571"/>
          <ac:picMkLst>
            <pc:docMk/>
            <pc:sldMk cId="4164166654" sldId="271"/>
            <ac:picMk id="78" creationId="{948FF65C-69C4-2755-0F37-84AE07FFBFBD}"/>
          </ac:picMkLst>
        </pc:picChg>
        <pc:cxnChg chg="add mod">
          <ac:chgData name="Lonneke Opsteegh" userId="ec2a11b1-c5a7-4109-83b7-7550d0e8e4d6" providerId="ADAL" clId="{CD47201A-FAFC-40CE-909D-D389533DE89E}" dt="2024-02-24T12:08:14.853" v="271" actId="1076"/>
          <ac:cxnSpMkLst>
            <pc:docMk/>
            <pc:sldMk cId="4164166654" sldId="271"/>
            <ac:cxnSpMk id="10" creationId="{2C3B49A3-FFC2-07C2-D59A-ED5404A1AE89}"/>
          </ac:cxnSpMkLst>
        </pc:cxnChg>
        <pc:cxnChg chg="add mod">
          <ac:chgData name="Lonneke Opsteegh" userId="ec2a11b1-c5a7-4109-83b7-7550d0e8e4d6" providerId="ADAL" clId="{CD47201A-FAFC-40CE-909D-D389533DE89E}" dt="2024-02-24T12:08:29.477" v="274" actId="1076"/>
          <ac:cxnSpMkLst>
            <pc:docMk/>
            <pc:sldMk cId="4164166654" sldId="271"/>
            <ac:cxnSpMk id="22" creationId="{A4529CD5-2F5D-3965-3836-316ED2B1F224}"/>
          </ac:cxnSpMkLst>
        </pc:cxnChg>
        <pc:cxnChg chg="add mod">
          <ac:chgData name="Lonneke Opsteegh" userId="ec2a11b1-c5a7-4109-83b7-7550d0e8e4d6" providerId="ADAL" clId="{CD47201A-FAFC-40CE-909D-D389533DE89E}" dt="2024-02-24T12:08:52.750" v="277" actId="1076"/>
          <ac:cxnSpMkLst>
            <pc:docMk/>
            <pc:sldMk cId="4164166654" sldId="271"/>
            <ac:cxnSpMk id="31" creationId="{5A58A870-BE78-4304-FB44-82F620A9A93C}"/>
          </ac:cxnSpMkLst>
        </pc:cxnChg>
        <pc:cxnChg chg="add mod">
          <ac:chgData name="Lonneke Opsteegh" userId="ec2a11b1-c5a7-4109-83b7-7550d0e8e4d6" providerId="ADAL" clId="{CD47201A-FAFC-40CE-909D-D389533DE89E}" dt="2024-02-24T12:09:08.925" v="280" actId="571"/>
          <ac:cxnSpMkLst>
            <pc:docMk/>
            <pc:sldMk cId="4164166654" sldId="271"/>
            <ac:cxnSpMk id="49" creationId="{8645E9BF-43D0-4B34-2479-88FE1827A9E7}"/>
          </ac:cxnSpMkLst>
        </pc:cxnChg>
      </pc:sldChg>
      <pc:sldChg chg="delSp new mod modClrScheme chgLayout">
        <pc:chgData name="Lonneke Opsteegh" userId="ec2a11b1-c5a7-4109-83b7-7550d0e8e4d6" providerId="ADAL" clId="{CD47201A-FAFC-40CE-909D-D389533DE89E}" dt="2023-02-15T14:37:03.638" v="26" actId="700"/>
        <pc:sldMkLst>
          <pc:docMk/>
          <pc:sldMk cId="879414398" sldId="272"/>
        </pc:sldMkLst>
        <pc:spChg chg="del">
          <ac:chgData name="Lonneke Opsteegh" userId="ec2a11b1-c5a7-4109-83b7-7550d0e8e4d6" providerId="ADAL" clId="{CD47201A-FAFC-40CE-909D-D389533DE89E}" dt="2023-02-15T14:37:03.638" v="26" actId="700"/>
          <ac:spMkLst>
            <pc:docMk/>
            <pc:sldMk cId="879414398" sldId="272"/>
            <ac:spMk id="2" creationId="{09525DCC-2C5B-B865-E571-93E2DC8A8F8C}"/>
          </ac:spMkLst>
        </pc:spChg>
        <pc:spChg chg="del">
          <ac:chgData name="Lonneke Opsteegh" userId="ec2a11b1-c5a7-4109-83b7-7550d0e8e4d6" providerId="ADAL" clId="{CD47201A-FAFC-40CE-909D-D389533DE89E}" dt="2023-02-15T14:37:03.638" v="26" actId="700"/>
          <ac:spMkLst>
            <pc:docMk/>
            <pc:sldMk cId="879414398" sldId="272"/>
            <ac:spMk id="3" creationId="{0B5F74E2-D737-F221-080D-88BDA3FF2ADE}"/>
          </ac:spMkLst>
        </pc:spChg>
      </pc:sldChg>
      <pc:sldChg chg="addSp modSp del mod">
        <pc:chgData name="Lonneke Opsteegh" userId="ec2a11b1-c5a7-4109-83b7-7550d0e8e4d6" providerId="ADAL" clId="{CD47201A-FAFC-40CE-909D-D389533DE89E}" dt="2023-02-15T14:36:58.471" v="24" actId="47"/>
        <pc:sldMkLst>
          <pc:docMk/>
          <pc:sldMk cId="1295083531" sldId="272"/>
        </pc:sldMkLst>
        <pc:picChg chg="mod">
          <ac:chgData name="Lonneke Opsteegh" userId="ec2a11b1-c5a7-4109-83b7-7550d0e8e4d6" providerId="ADAL" clId="{CD47201A-FAFC-40CE-909D-D389533DE89E}" dt="2023-02-15T14:35:54.499" v="21" actId="1076"/>
          <ac:picMkLst>
            <pc:docMk/>
            <pc:sldMk cId="1295083531" sldId="272"/>
            <ac:picMk id="2" creationId="{2212CDC1-1447-088F-2773-38204767A71A}"/>
          </ac:picMkLst>
        </pc:picChg>
        <pc:picChg chg="add 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8" creationId="{74BAC68B-A624-E9C6-C90A-B3ED4A6E494F}"/>
          </ac:picMkLst>
        </pc:picChg>
        <pc:picChg chg="mod">
          <ac:chgData name="Lonneke Opsteegh" userId="ec2a11b1-c5a7-4109-83b7-7550d0e8e4d6" providerId="ADAL" clId="{CD47201A-FAFC-40CE-909D-D389533DE89E}" dt="2023-02-15T14:35:44.795" v="20" actId="1076"/>
          <ac:picMkLst>
            <pc:docMk/>
            <pc:sldMk cId="1295083531" sldId="272"/>
            <ac:picMk id="10" creationId="{EA6BC12B-AD4C-886E-EFD6-02F83D9BAF67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12" creationId="{F4F339A5-288F-2466-ED24-AF17BAF3CDEB}"/>
          </ac:picMkLst>
        </pc:picChg>
        <pc:picChg chg="mod">
          <ac:chgData name="Lonneke Opsteegh" userId="ec2a11b1-c5a7-4109-83b7-7550d0e8e4d6" providerId="ADAL" clId="{CD47201A-FAFC-40CE-909D-D389533DE89E}" dt="2023-02-15T14:35:40.134" v="19" actId="408"/>
          <ac:picMkLst>
            <pc:docMk/>
            <pc:sldMk cId="1295083531" sldId="272"/>
            <ac:picMk id="13" creationId="{CC64D91C-73FC-6105-06DC-23F6D96C741F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15" creationId="{8C9CCB94-16A3-5B89-5695-FC57F04F48DA}"/>
          </ac:picMkLst>
        </pc:picChg>
        <pc:picChg chg="mod">
          <ac:chgData name="Lonneke Opsteegh" userId="ec2a11b1-c5a7-4109-83b7-7550d0e8e4d6" providerId="ADAL" clId="{CD47201A-FAFC-40CE-909D-D389533DE89E}" dt="2023-02-15T14:35:40.134" v="19" actId="408"/>
          <ac:picMkLst>
            <pc:docMk/>
            <pc:sldMk cId="1295083531" sldId="272"/>
            <ac:picMk id="16" creationId="{6B7B93EE-9291-4EE5-6635-C3ACEA44FA97}"/>
          </ac:picMkLst>
        </pc:picChg>
        <pc:picChg chg="mod">
          <ac:chgData name="Lonneke Opsteegh" userId="ec2a11b1-c5a7-4109-83b7-7550d0e8e4d6" providerId="ADAL" clId="{CD47201A-FAFC-40CE-909D-D389533DE89E}" dt="2023-02-15T14:35:12.380" v="14" actId="1076"/>
          <ac:picMkLst>
            <pc:docMk/>
            <pc:sldMk cId="1295083531" sldId="272"/>
            <ac:picMk id="22" creationId="{10F82ACC-4D8C-25DB-D12A-5F83D2E2C0F0}"/>
          </ac:picMkLst>
        </pc:picChg>
        <pc:picChg chg="mod">
          <ac:chgData name="Lonneke Opsteegh" userId="ec2a11b1-c5a7-4109-83b7-7550d0e8e4d6" providerId="ADAL" clId="{CD47201A-FAFC-40CE-909D-D389533DE89E}" dt="2023-02-15T14:34:55.252" v="9" actId="1076"/>
          <ac:picMkLst>
            <pc:docMk/>
            <pc:sldMk cId="1295083531" sldId="272"/>
            <ac:picMk id="24" creationId="{2293B7F7-42AE-384A-E051-BD429F1F8E21}"/>
          </ac:picMkLst>
        </pc:picChg>
        <pc:picChg chg="mod">
          <ac:chgData name="Lonneke Opsteegh" userId="ec2a11b1-c5a7-4109-83b7-7550d0e8e4d6" providerId="ADAL" clId="{CD47201A-FAFC-40CE-909D-D389533DE89E}" dt="2023-02-15T14:35:12.380" v="14" actId="1076"/>
          <ac:picMkLst>
            <pc:docMk/>
            <pc:sldMk cId="1295083531" sldId="272"/>
            <ac:picMk id="28" creationId="{23D23DB5-4289-04B7-618C-61D1285BF5DB}"/>
          </ac:picMkLst>
        </pc:picChg>
        <pc:picChg chg="mod">
          <ac:chgData name="Lonneke Opsteegh" userId="ec2a11b1-c5a7-4109-83b7-7550d0e8e4d6" providerId="ADAL" clId="{CD47201A-FAFC-40CE-909D-D389533DE89E}" dt="2023-02-15T14:34:55.252" v="9" actId="1076"/>
          <ac:picMkLst>
            <pc:docMk/>
            <pc:sldMk cId="1295083531" sldId="272"/>
            <ac:picMk id="30" creationId="{B0D84EE8-E9CF-7EB8-3807-A0EF831E1A26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32" creationId="{F9C2186E-CA52-DF92-FD93-575DA34A03C9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34" creationId="{97ABF862-06C7-33DA-732C-0F93A84BF0AA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36" creationId="{AEB63145-5B3C-EA0F-E1A3-D7EB5344B35D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40" creationId="{45EC5D00-2ED8-0566-E1E5-8C6F4578F6D8}"/>
          </ac:picMkLst>
        </pc:picChg>
        <pc:picChg chg="mod">
          <ac:chgData name="Lonneke Opsteegh" userId="ec2a11b1-c5a7-4109-83b7-7550d0e8e4d6" providerId="ADAL" clId="{CD47201A-FAFC-40CE-909D-D389533DE89E}" dt="2023-02-15T14:34:57.804" v="10" actId="1076"/>
          <ac:picMkLst>
            <pc:docMk/>
            <pc:sldMk cId="1295083531" sldId="272"/>
            <ac:picMk id="42" creationId="{7AB04E64-0458-D92A-162B-B5441C27264F}"/>
          </ac:picMkLst>
        </pc:picChg>
      </pc:sldChg>
      <pc:sldMasterChg chg="addSldLayout modSldLayout">
        <pc:chgData name="Lonneke Opsteegh" userId="ec2a11b1-c5a7-4109-83b7-7550d0e8e4d6" providerId="ADAL" clId="{CD47201A-FAFC-40CE-909D-D389533DE89E}" dt="2023-02-21T10:47:30.977" v="39" actId="408"/>
        <pc:sldMasterMkLst>
          <pc:docMk/>
          <pc:sldMasterMk cId="489246797" sldId="2147483648"/>
        </pc:sldMasterMkLst>
        <pc:sldLayoutChg chg="addSp delSp modSp add mod modTransition">
          <pc:chgData name="Lonneke Opsteegh" userId="ec2a11b1-c5a7-4109-83b7-7550d0e8e4d6" providerId="ADAL" clId="{CD47201A-FAFC-40CE-909D-D389533DE89E}" dt="2023-02-21T10:47:30.977" v="39" actId="408"/>
          <pc:sldLayoutMkLst>
            <pc:docMk/>
            <pc:sldMasterMk cId="489246797" sldId="2147483648"/>
            <pc:sldLayoutMk cId="204632846" sldId="2147483662"/>
          </pc:sldLayoutMkLst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0" creationId="{42886A9B-79B9-24B6-6EE9-A490D8886407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1" creationId="{4312FBA6-EF7A-0DC7-8FBE-4CB0CD253414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2" creationId="{2450D961-747E-208D-1D7B-DB2DF99A39E5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3" creationId="{F7EEA52D-5CD9-4B44-4555-AECF0D1F4E4A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4" creationId="{162B4A89-3A68-37CA-A8A3-A5D47182208C}"/>
            </ac:spMkLst>
          </pc:spChg>
          <pc:picChg chg="add mod">
            <ac:chgData name="Lonneke Opsteegh" userId="ec2a11b1-c5a7-4109-83b7-7550d0e8e4d6" providerId="ADAL" clId="{CD47201A-FAFC-40CE-909D-D389533DE89E}" dt="2023-02-21T10:47:30.977" v="39" actId="408"/>
            <ac:picMkLst>
              <pc:docMk/>
              <pc:sldMasterMk cId="489246797" sldId="2147483648"/>
              <pc:sldLayoutMk cId="204632846" sldId="2147483662"/>
              <ac:picMk id="5" creationId="{FB15CC3D-A606-9A28-FED2-2CFA86DCD96F}"/>
            </ac:picMkLst>
          </pc:picChg>
          <pc:picChg chg="add mod">
            <ac:chgData name="Lonneke Opsteegh" userId="ec2a11b1-c5a7-4109-83b7-7550d0e8e4d6" providerId="ADAL" clId="{CD47201A-FAFC-40CE-909D-D389533DE89E}" dt="2023-02-21T10:47:23.383" v="38" actId="1076"/>
            <ac:picMkLst>
              <pc:docMk/>
              <pc:sldMasterMk cId="489246797" sldId="2147483648"/>
              <pc:sldLayoutMk cId="204632846" sldId="2147483662"/>
              <ac:picMk id="14" creationId="{8DBF57D9-3BB4-B5CB-13C7-E035A21A861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5" creationId="{ABBCE7CD-45B5-D0F9-90D6-7C9E7E55F66A}"/>
            </ac:picMkLst>
          </pc:picChg>
          <pc:picChg chg="add mod">
            <ac:chgData name="Lonneke Opsteegh" userId="ec2a11b1-c5a7-4109-83b7-7550d0e8e4d6" providerId="ADAL" clId="{CD47201A-FAFC-40CE-909D-D389533DE89E}" dt="2023-02-21T10:47:30.977" v="39" actId="408"/>
            <ac:picMkLst>
              <pc:docMk/>
              <pc:sldMasterMk cId="489246797" sldId="2147483648"/>
              <pc:sldLayoutMk cId="204632846" sldId="2147483662"/>
              <ac:picMk id="16" creationId="{490E102A-6B37-2E52-5533-59DA049DF25B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7" creationId="{A054E8EA-E709-613A-B2D8-6ED1FBF75449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8" creationId="{3C251BC3-2BB5-1039-A172-1A22B1003D8A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9" creationId="{BCA85889-C099-E75F-72AA-181C8BBDEC27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0" creationId="{743EFAD9-377C-B668-EE96-E9AA8D52330B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1" creationId="{B7A03652-0A3B-7766-31BC-A26AFF3AE63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2" creationId="{6E2F056C-031D-A514-7238-F08F39F47E4C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3" creationId="{A446CA01-7B21-C2D8-70C5-DA044E11A825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4" creationId="{5A428C06-0A9D-11EA-BF8C-64B777781527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25" creationId="{E53A814B-344E-8BF6-87CB-FC5AC5F90E91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6" creationId="{D621666D-F7B6-233C-A5DF-68F47806D240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7" creationId="{B0A411CD-1928-FB67-EB0B-E44248A497B5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28" creationId="{AB8AF58F-9250-F4D6-75F0-1B1E04059805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9" creationId="{A208C5DC-FFF4-E6CE-00BA-1BDDB5E1372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0" creationId="{5205A613-4C57-9201-F3DF-91B83DACE433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1" creationId="{4D6187C2-EB2C-FD57-2C9B-08D3496A629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2" creationId="{EAB7215C-8B03-2F6E-687F-44A36F7EDDE6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33" creationId="{78D3E332-6186-8137-D94F-5CCA7759ED04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4" creationId="{EE4B188D-3B01-C3B3-678C-2CE8BAC98D09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5" creationId="{000E3ECB-B811-7AD6-BA7B-00D581B601D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6" creationId="{48CBA419-D01C-5A06-E7C9-E3091DCAB6B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45" creationId="{974554CF-6ED3-4C02-C31A-06CA692E28AE}"/>
            </ac:picMkLst>
          </pc:picChg>
          <pc:picChg chg="add del mod">
            <ac:chgData name="Lonneke Opsteegh" userId="ec2a11b1-c5a7-4109-83b7-7550d0e8e4d6" providerId="ADAL" clId="{CD47201A-FAFC-40CE-909D-D389533DE89E}" dt="2023-02-21T10:46:31.659" v="29" actId="478"/>
            <ac:picMkLst>
              <pc:docMk/>
              <pc:sldMasterMk cId="489246797" sldId="2147483648"/>
              <pc:sldLayoutMk cId="204632846" sldId="2147483662"/>
              <ac:picMk id="46" creationId="{76FA59F0-5C5E-5771-F215-B761E6C687C3}"/>
            </ac:picMkLst>
          </pc:picChg>
          <pc:picChg chg="add mod">
            <ac:chgData name="Lonneke Opsteegh" userId="ec2a11b1-c5a7-4109-83b7-7550d0e8e4d6" providerId="ADAL" clId="{CD47201A-FAFC-40CE-909D-D389533DE89E}" dt="2023-02-21T10:47:05.144" v="36" actId="1076"/>
            <ac:picMkLst>
              <pc:docMk/>
              <pc:sldMasterMk cId="489246797" sldId="2147483648"/>
              <pc:sldLayoutMk cId="204632846" sldId="2147483662"/>
              <ac:picMk id="48" creationId="{537A0058-5ACD-35B5-CAB6-ABACB0F64F41}"/>
            </ac:picMkLst>
          </pc:pic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7" creationId="{155BF058-CED0-1AFD-E96E-99B8B7EEBEAD}"/>
            </ac:cxnSpMkLst>
          </pc:cxn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8" creationId="{20490058-DAFB-6BE2-017B-FEAAE909E86F}"/>
            </ac:cxnSpMkLst>
          </pc:cxn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9" creationId="{D93ED777-73ED-DA4F-07F8-871D63EC2FD1}"/>
            </ac:cxnSpMkLst>
          </pc:cxnChg>
        </pc:sldLayoutChg>
      </pc:sldMasterChg>
    </pc:docChg>
  </pc:docChgLst>
  <pc:docChgLst>
    <pc:chgData name="Strzyminski, Grzegorz" userId="0c1cb62d-c60a-4e4f-b918-a4b6f306529d" providerId="ADAL" clId="{851932D5-6311-41D2-86BD-382E555B8B3D}"/>
    <pc:docChg chg="undo custSel addSld delSld modSld modMainMaster modSection replTag">
      <pc:chgData name="Strzyminski, Grzegorz" userId="0c1cb62d-c60a-4e4f-b918-a4b6f306529d" providerId="ADAL" clId="{851932D5-6311-41D2-86BD-382E555B8B3D}" dt="2024-03-04T14:35:08.829" v="1414" actId="1076"/>
      <pc:docMkLst>
        <pc:docMk/>
      </pc:docMkLst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1325477011" sldId="259"/>
        </pc:sldMkLst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4187456339" sldId="260"/>
        </pc:sldMkLst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4049822668" sldId="261"/>
        </pc:sldMkLst>
      </pc:sldChg>
      <pc:sldChg chg="addSp delSp modSp mod">
        <pc:chgData name="Strzyminski, Grzegorz" userId="0c1cb62d-c60a-4e4f-b918-a4b6f306529d" providerId="ADAL" clId="{851932D5-6311-41D2-86BD-382E555B8B3D}" dt="2024-03-04T14:25:45.033" v="225"/>
        <pc:sldMkLst>
          <pc:docMk/>
          <pc:sldMk cId="791576755" sldId="263"/>
        </pc:sldMkLst>
        <pc:spChg chg="mod">
          <ac:chgData name="Strzyminski, Grzegorz" userId="0c1cb62d-c60a-4e4f-b918-a4b6f306529d" providerId="ADAL" clId="{851932D5-6311-41D2-86BD-382E555B8B3D}" dt="2024-03-04T14:25:45.010" v="200" actId="948"/>
          <ac:spMkLst>
            <pc:docMk/>
            <pc:sldMk cId="791576755" sldId="263"/>
            <ac:spMk id="2" creationId="{27087007-5F2C-A7B2-FEF1-DFE6D76528D1}"/>
          </ac:spMkLst>
        </pc:spChg>
        <pc:spChg chg="mod">
          <ac:chgData name="Strzyminski, Grzegorz" userId="0c1cb62d-c60a-4e4f-b918-a4b6f306529d" providerId="ADAL" clId="{851932D5-6311-41D2-86BD-382E555B8B3D}" dt="2024-03-04T14:25:26.450" v="32" actId="20577"/>
          <ac:spMkLst>
            <pc:docMk/>
            <pc:sldMk cId="791576755" sldId="263"/>
            <ac:spMk id="3" creationId="{B687B94E-33A6-3943-016E-D0856839D2C8}"/>
          </ac:spMkLst>
        </pc:spChg>
        <pc:spChg chg="add del mod modVis">
          <ac:chgData name="Strzyminski, Grzegorz" userId="0c1cb62d-c60a-4e4f-b918-a4b6f306529d" providerId="ADAL" clId="{851932D5-6311-41D2-86BD-382E555B8B3D}" dt="2024-03-04T14:25:36.467" v="109"/>
          <ac:spMkLst>
            <pc:docMk/>
            <pc:sldMk cId="791576755" sldId="263"/>
            <ac:spMk id="4" creationId="{D65C4EA5-BCB3-31F4-B15E-243B76FE8488}"/>
          </ac:spMkLst>
        </pc:spChg>
        <pc:spChg chg="add del mod modVis">
          <ac:chgData name="Strzyminski, Grzegorz" userId="0c1cb62d-c60a-4e4f-b918-a4b6f306529d" providerId="ADAL" clId="{851932D5-6311-41D2-86BD-382E555B8B3D}" dt="2024-03-04T14:25:39.603" v="169"/>
          <ac:spMkLst>
            <pc:docMk/>
            <pc:sldMk cId="791576755" sldId="263"/>
            <ac:spMk id="6" creationId="{976F9E31-1CEF-7265-5B75-619A1F9E2F27}"/>
          </ac:spMkLst>
        </pc:spChg>
        <pc:spChg chg="add del mod modVis">
          <ac:chgData name="Strzyminski, Grzegorz" userId="0c1cb62d-c60a-4e4f-b918-a4b6f306529d" providerId="ADAL" clId="{851932D5-6311-41D2-86BD-382E555B8B3D}" dt="2024-03-04T14:25:45.030" v="223"/>
          <ac:spMkLst>
            <pc:docMk/>
            <pc:sldMk cId="791576755" sldId="263"/>
            <ac:spMk id="7" creationId="{A9F68FDE-352C-4401-D85C-4B82902902AD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5:45.033" v="225"/>
          <ac:graphicFrameMkLst>
            <pc:docMk/>
            <pc:sldMk cId="791576755" sldId="263"/>
            <ac:graphicFrameMk id="5" creationId="{A80EFA2C-BDC4-E596-AF8C-F4FABED73AB3}"/>
          </ac:graphicFrameMkLst>
        </pc:graphicFrameChg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2174704069" sldId="264"/>
        </pc:sldMkLst>
      </pc:sldChg>
      <pc:sldChg chg="del">
        <pc:chgData name="Strzyminski, Grzegorz" userId="0c1cb62d-c60a-4e4f-b918-a4b6f306529d" providerId="ADAL" clId="{851932D5-6311-41D2-86BD-382E555B8B3D}" dt="2024-03-04T14:25:14.151" v="1" actId="47"/>
        <pc:sldMkLst>
          <pc:docMk/>
          <pc:sldMk cId="3288331060" sldId="265"/>
        </pc:sldMkLst>
      </pc:sldChg>
      <pc:sldChg chg="addSp delSp modSp mod">
        <pc:chgData name="Strzyminski, Grzegorz" userId="0c1cb62d-c60a-4e4f-b918-a4b6f306529d" providerId="ADAL" clId="{851932D5-6311-41D2-86BD-382E555B8B3D}" dt="2024-03-04T14:28:52.958" v="756" actId="404"/>
        <pc:sldMkLst>
          <pc:docMk/>
          <pc:sldMk cId="3644016809" sldId="269"/>
        </pc:sldMkLst>
        <pc:spChg chg="add del mod modVis">
          <ac:chgData name="Strzyminski, Grzegorz" userId="0c1cb62d-c60a-4e4f-b918-a4b6f306529d" providerId="ADAL" clId="{851932D5-6311-41D2-86BD-382E555B8B3D}" dt="2024-03-04T14:26:13.933" v="256"/>
          <ac:spMkLst>
            <pc:docMk/>
            <pc:sldMk cId="3644016809" sldId="269"/>
            <ac:spMk id="2" creationId="{906C4034-206F-BF92-8127-A186D2BA48A7}"/>
          </ac:spMkLst>
        </pc:spChg>
        <pc:spChg chg="mod">
          <ac:chgData name="Strzyminski, Grzegorz" userId="0c1cb62d-c60a-4e4f-b918-a4b6f306529d" providerId="ADAL" clId="{851932D5-6311-41D2-86BD-382E555B8B3D}" dt="2024-03-04T14:27:47.118" v="695" actId="948"/>
          <ac:spMkLst>
            <pc:docMk/>
            <pc:sldMk cId="3644016809" sldId="269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28:52.958" v="756" actId="404"/>
          <ac:spMkLst>
            <pc:docMk/>
            <pc:sldMk cId="3644016809" sldId="269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26:23.042" v="311"/>
          <ac:spMkLst>
            <pc:docMk/>
            <pc:sldMk cId="3644016809" sldId="269"/>
            <ac:spMk id="6" creationId="{F7B26D2B-DA50-1C3B-7AE6-FD02DDAE7C44}"/>
          </ac:spMkLst>
        </pc:spChg>
        <pc:spChg chg="add del mod modVis">
          <ac:chgData name="Strzyminski, Grzegorz" userId="0c1cb62d-c60a-4e4f-b918-a4b6f306529d" providerId="ADAL" clId="{851932D5-6311-41D2-86BD-382E555B8B3D}" dt="2024-03-04T14:26:23.593" v="338"/>
          <ac:spMkLst>
            <pc:docMk/>
            <pc:sldMk cId="3644016809" sldId="269"/>
            <ac:spMk id="7" creationId="{4C2F41DB-9F2E-8A3D-74DE-608F0BCA539E}"/>
          </ac:spMkLst>
        </pc:spChg>
        <pc:spChg chg="add del mod modVis">
          <ac:chgData name="Strzyminski, Grzegorz" userId="0c1cb62d-c60a-4e4f-b918-a4b6f306529d" providerId="ADAL" clId="{851932D5-6311-41D2-86BD-382E555B8B3D}" dt="2024-03-04T14:26:24.893" v="365"/>
          <ac:spMkLst>
            <pc:docMk/>
            <pc:sldMk cId="3644016809" sldId="269"/>
            <ac:spMk id="8" creationId="{94100754-B717-83CC-04AF-DD7B542B5E76}"/>
          </ac:spMkLst>
        </pc:spChg>
        <pc:spChg chg="add del mod modVis">
          <ac:chgData name="Strzyminski, Grzegorz" userId="0c1cb62d-c60a-4e4f-b918-a4b6f306529d" providerId="ADAL" clId="{851932D5-6311-41D2-86BD-382E555B8B3D}" dt="2024-03-04T14:26:25.595" v="392"/>
          <ac:spMkLst>
            <pc:docMk/>
            <pc:sldMk cId="3644016809" sldId="269"/>
            <ac:spMk id="9" creationId="{CEF8E734-1906-32BB-1CF3-DB5B9E726AA5}"/>
          </ac:spMkLst>
        </pc:spChg>
        <pc:spChg chg="add del mod modVis">
          <ac:chgData name="Strzyminski, Grzegorz" userId="0c1cb62d-c60a-4e4f-b918-a4b6f306529d" providerId="ADAL" clId="{851932D5-6311-41D2-86BD-382E555B8B3D}" dt="2024-03-04T14:26:27.771" v="430"/>
          <ac:spMkLst>
            <pc:docMk/>
            <pc:sldMk cId="3644016809" sldId="269"/>
            <ac:spMk id="10" creationId="{B65FB381-6DFC-A226-D5A3-A855F5F18973}"/>
          </ac:spMkLst>
        </pc:spChg>
        <pc:spChg chg="add del mod modVis">
          <ac:chgData name="Strzyminski, Grzegorz" userId="0c1cb62d-c60a-4e4f-b918-a4b6f306529d" providerId="ADAL" clId="{851932D5-6311-41D2-86BD-382E555B8B3D}" dt="2024-03-04T14:26:29.302" v="459"/>
          <ac:spMkLst>
            <pc:docMk/>
            <pc:sldMk cId="3644016809" sldId="269"/>
            <ac:spMk id="11" creationId="{2E51FC2D-8FCB-0C44-1139-2CC8B3CE1BBC}"/>
          </ac:spMkLst>
        </pc:spChg>
        <pc:spChg chg="add del mod modVis">
          <ac:chgData name="Strzyminski, Grzegorz" userId="0c1cb62d-c60a-4e4f-b918-a4b6f306529d" providerId="ADAL" clId="{851932D5-6311-41D2-86BD-382E555B8B3D}" dt="2024-03-04T14:26:29.857" v="486"/>
          <ac:spMkLst>
            <pc:docMk/>
            <pc:sldMk cId="3644016809" sldId="269"/>
            <ac:spMk id="12" creationId="{F014A57D-23B7-6C0B-F1DF-EA75F4BD2E59}"/>
          </ac:spMkLst>
        </pc:spChg>
        <pc:spChg chg="add del mod modVis">
          <ac:chgData name="Strzyminski, Grzegorz" userId="0c1cb62d-c60a-4e4f-b918-a4b6f306529d" providerId="ADAL" clId="{851932D5-6311-41D2-86BD-382E555B8B3D}" dt="2024-03-04T14:26:31.324" v="516"/>
          <ac:spMkLst>
            <pc:docMk/>
            <pc:sldMk cId="3644016809" sldId="269"/>
            <ac:spMk id="13" creationId="{D79D5914-5413-D096-1D27-517CAFD97939}"/>
          </ac:spMkLst>
        </pc:spChg>
        <pc:spChg chg="add del mod modVis">
          <ac:chgData name="Strzyminski, Grzegorz" userId="0c1cb62d-c60a-4e4f-b918-a4b6f306529d" providerId="ADAL" clId="{851932D5-6311-41D2-86BD-382E555B8B3D}" dt="2024-03-04T14:27:00.499" v="554"/>
          <ac:spMkLst>
            <pc:docMk/>
            <pc:sldMk cId="3644016809" sldId="269"/>
            <ac:spMk id="15" creationId="{FED816D8-85D8-1DB8-CA22-672D0EC138BF}"/>
          </ac:spMkLst>
        </pc:spChg>
        <pc:spChg chg="add del mod modVis">
          <ac:chgData name="Strzyminski, Grzegorz" userId="0c1cb62d-c60a-4e4f-b918-a4b6f306529d" providerId="ADAL" clId="{851932D5-6311-41D2-86BD-382E555B8B3D}" dt="2024-03-04T14:27:12.235" v="584"/>
          <ac:spMkLst>
            <pc:docMk/>
            <pc:sldMk cId="3644016809" sldId="269"/>
            <ac:spMk id="16" creationId="{565407AE-8F29-A825-E656-F6CB7CD1A605}"/>
          </ac:spMkLst>
        </pc:spChg>
        <pc:spChg chg="add del mod modVis">
          <ac:chgData name="Strzyminski, Grzegorz" userId="0c1cb62d-c60a-4e4f-b918-a4b6f306529d" providerId="ADAL" clId="{851932D5-6311-41D2-86BD-382E555B8B3D}" dt="2024-03-04T14:27:30.716" v="671" actId="962"/>
          <ac:spMkLst>
            <pc:docMk/>
            <pc:sldMk cId="3644016809" sldId="269"/>
            <ac:spMk id="17" creationId="{10834FEA-7502-EE42-DF19-A3F0FE8ABBDC}"/>
          </ac:spMkLst>
        </pc:spChg>
        <pc:spChg chg="add del mod modVis">
          <ac:chgData name="Strzyminski, Grzegorz" userId="0c1cb62d-c60a-4e4f-b918-a4b6f306529d" providerId="ADAL" clId="{851932D5-6311-41D2-86BD-382E555B8B3D}" dt="2024-03-04T14:27:47.136" v="718"/>
          <ac:spMkLst>
            <pc:docMk/>
            <pc:sldMk cId="3644016809" sldId="269"/>
            <ac:spMk id="18" creationId="{A83D39A6-66E2-D393-6FC5-38BF9B5C3351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7:47.138" v="720"/>
          <ac:graphicFrameMkLst>
            <pc:docMk/>
            <pc:sldMk cId="3644016809" sldId="269"/>
            <ac:graphicFrameMk id="3" creationId="{F42338B2-C5B8-0084-3704-CA9EA764A279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27:46.601" v="694" actId="1036"/>
          <ac:picMkLst>
            <pc:docMk/>
            <pc:sldMk cId="3644016809" sldId="269"/>
            <ac:picMk id="14" creationId="{B6008CF2-9F4B-6DD2-C072-372795FFE7BC}"/>
          </ac:picMkLst>
        </pc:picChg>
      </pc:sldChg>
      <pc:sldChg chg="addSp modSp add mod">
        <pc:chgData name="Strzyminski, Grzegorz" userId="0c1cb62d-c60a-4e4f-b918-a4b6f306529d" providerId="ADAL" clId="{851932D5-6311-41D2-86BD-382E555B8B3D}" dt="2024-03-04T14:29:02.521" v="759" actId="403"/>
        <pc:sldMkLst>
          <pc:docMk/>
          <pc:sldMk cId="3192561730" sldId="272"/>
        </pc:sldMkLst>
        <pc:spChg chg="mod">
          <ac:chgData name="Strzyminski, Grzegorz" userId="0c1cb62d-c60a-4e4f-b918-a4b6f306529d" providerId="ADAL" clId="{851932D5-6311-41D2-86BD-382E555B8B3D}" dt="2024-03-04T14:28:08.378" v="728" actId="948"/>
          <ac:spMkLst>
            <pc:docMk/>
            <pc:sldMk cId="3192561730" sldId="272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29:02.521" v="759" actId="403"/>
          <ac:spMkLst>
            <pc:docMk/>
            <pc:sldMk cId="3192561730" sldId="272"/>
            <ac:spMk id="5" creationId="{16F62582-09FB-82DE-EE84-0E928DE92042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8:08.404" v="745"/>
          <ac:graphicFrameMkLst>
            <pc:docMk/>
            <pc:sldMk cId="3192561730" sldId="272"/>
            <ac:graphicFrameMk id="2" creationId="{A8366385-0601-F4EC-9AA0-FA38F6488ADD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0:03.200" v="861" actId="1076"/>
        <pc:sldMkLst>
          <pc:docMk/>
          <pc:sldMk cId="2182706232" sldId="273"/>
        </pc:sldMkLst>
        <pc:spChg chg="add del mod modVis">
          <ac:chgData name="Strzyminski, Grzegorz" userId="0c1cb62d-c60a-4e4f-b918-a4b6f306529d" providerId="ADAL" clId="{851932D5-6311-41D2-86BD-382E555B8B3D}" dt="2024-03-04T14:29:29.590" v="809"/>
          <ac:spMkLst>
            <pc:docMk/>
            <pc:sldMk cId="2182706232" sldId="273"/>
            <ac:spMk id="2" creationId="{E8DC279A-E178-531B-A3B9-2C9A23698576}"/>
          </ac:spMkLst>
        </pc:spChg>
        <pc:spChg chg="mod">
          <ac:chgData name="Strzyminski, Grzegorz" userId="0c1cb62d-c60a-4e4f-b918-a4b6f306529d" providerId="ADAL" clId="{851932D5-6311-41D2-86BD-382E555B8B3D}" dt="2024-03-04T14:29:30.162" v="826" actId="948"/>
          <ac:spMkLst>
            <pc:docMk/>
            <pc:sldMk cId="2182706232" sldId="273"/>
            <ac:spMk id="4" creationId="{A0121CE1-AE8A-C285-EB49-0DF4545AADEB}"/>
          </ac:spMkLst>
        </pc:spChg>
        <pc:spChg chg="del mod">
          <ac:chgData name="Strzyminski, Grzegorz" userId="0c1cb62d-c60a-4e4f-b918-a4b6f306529d" providerId="ADAL" clId="{851932D5-6311-41D2-86BD-382E555B8B3D}" dt="2024-03-04T14:29:34.945" v="852" actId="478"/>
          <ac:spMkLst>
            <pc:docMk/>
            <pc:sldMk cId="2182706232" sldId="273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29:30.182" v="849"/>
          <ac:spMkLst>
            <pc:docMk/>
            <pc:sldMk cId="2182706232" sldId="273"/>
            <ac:spMk id="6" creationId="{4F94E6A4-E17B-EE24-862E-589A33720603}"/>
          </ac:spMkLst>
        </pc:spChg>
        <pc:spChg chg="add del mod">
          <ac:chgData name="Strzyminski, Grzegorz" userId="0c1cb62d-c60a-4e4f-b918-a4b6f306529d" providerId="ADAL" clId="{851932D5-6311-41D2-86BD-382E555B8B3D}" dt="2024-03-04T14:29:36.822" v="853" actId="478"/>
          <ac:spMkLst>
            <pc:docMk/>
            <pc:sldMk cId="2182706232" sldId="273"/>
            <ac:spMk id="8" creationId="{8421F3CA-C8E4-8035-B7AF-EB6D52229011}"/>
          </ac:spMkLst>
        </pc:spChg>
        <pc:spChg chg="add mod">
          <ac:chgData name="Strzyminski, Grzegorz" userId="0c1cb62d-c60a-4e4f-b918-a4b6f306529d" providerId="ADAL" clId="{851932D5-6311-41D2-86BD-382E555B8B3D}" dt="2024-03-04T14:29:53.756" v="859" actId="403"/>
          <ac:spMkLst>
            <pc:docMk/>
            <pc:sldMk cId="2182706232" sldId="273"/>
            <ac:spMk id="9" creationId="{BDDFF876-BEAE-DC85-70A6-367509BA298E}"/>
          </ac:spMkLst>
        </pc:spChg>
        <pc:spChg chg="add mod">
          <ac:chgData name="Strzyminski, Grzegorz" userId="0c1cb62d-c60a-4e4f-b918-a4b6f306529d" providerId="ADAL" clId="{851932D5-6311-41D2-86BD-382E555B8B3D}" dt="2024-03-04T14:30:03.200" v="861" actId="1076"/>
          <ac:spMkLst>
            <pc:docMk/>
            <pc:sldMk cId="2182706232" sldId="273"/>
            <ac:spMk id="10" creationId="{ACC22412-51FA-772C-73B4-762215568EF4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9:30.184" v="851"/>
          <ac:graphicFrameMkLst>
            <pc:docMk/>
            <pc:sldMk cId="2182706232" sldId="273"/>
            <ac:graphicFrameMk id="3" creationId="{4CCD9B1F-0AE0-45B5-3D63-515BED506B23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29:42.056" v="854"/>
          <ac:picMkLst>
            <pc:docMk/>
            <pc:sldMk cId="2182706232" sldId="273"/>
            <ac:picMk id="12" creationId="{EC6A187D-FB6A-E18C-5E86-D3D338CD7307}"/>
          </ac:picMkLst>
        </pc:picChg>
        <pc:picChg chg="add mod">
          <ac:chgData name="Strzyminski, Grzegorz" userId="0c1cb62d-c60a-4e4f-b918-a4b6f306529d" providerId="ADAL" clId="{851932D5-6311-41D2-86BD-382E555B8B3D}" dt="2024-03-04T14:29:42.056" v="854"/>
          <ac:picMkLst>
            <pc:docMk/>
            <pc:sldMk cId="2182706232" sldId="273"/>
            <ac:picMk id="13" creationId="{9CC20618-1E1A-F275-21B5-979BED3BB5BE}"/>
          </ac:picMkLst>
        </pc:picChg>
        <pc:cxnChg chg="add mod">
          <ac:chgData name="Strzyminski, Grzegorz" userId="0c1cb62d-c60a-4e4f-b918-a4b6f306529d" providerId="ADAL" clId="{851932D5-6311-41D2-86BD-382E555B8B3D}" dt="2024-03-04T14:29:42.056" v="854"/>
          <ac:cxnSpMkLst>
            <pc:docMk/>
            <pc:sldMk cId="2182706232" sldId="273"/>
            <ac:cxnSpMk id="11" creationId="{7F2F3F94-9E79-5965-19F1-74120EBE09DD}"/>
          </ac:cxnSpMkLst>
        </pc:cxnChg>
      </pc:sldChg>
      <pc:sldChg chg="addSp delSp modSp add mod">
        <pc:chgData name="Strzyminski, Grzegorz" userId="0c1cb62d-c60a-4e4f-b918-a4b6f306529d" providerId="ADAL" clId="{851932D5-6311-41D2-86BD-382E555B8B3D}" dt="2024-03-04T14:31:17.889" v="977" actId="403"/>
        <pc:sldMkLst>
          <pc:docMk/>
          <pc:sldMk cId="874075303" sldId="274"/>
        </pc:sldMkLst>
        <pc:spChg chg="add del mod modVis">
          <ac:chgData name="Strzyminski, Grzegorz" userId="0c1cb62d-c60a-4e4f-b918-a4b6f306529d" providerId="ADAL" clId="{851932D5-6311-41D2-86BD-382E555B8B3D}" dt="2024-03-04T14:30:20.770" v="891"/>
          <ac:spMkLst>
            <pc:docMk/>
            <pc:sldMk cId="874075303" sldId="274"/>
            <ac:spMk id="2" creationId="{F36E9FF3-CFE8-A27B-8D14-D32317661206}"/>
          </ac:spMkLst>
        </pc:spChg>
        <pc:spChg chg="mod">
          <ac:chgData name="Strzyminski, Grzegorz" userId="0c1cb62d-c60a-4e4f-b918-a4b6f306529d" providerId="ADAL" clId="{851932D5-6311-41D2-86BD-382E555B8B3D}" dt="2024-03-04T14:30:24.525" v="928" actId="948"/>
          <ac:spMkLst>
            <pc:docMk/>
            <pc:sldMk cId="874075303" sldId="274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1:17.889" v="977" actId="403"/>
          <ac:spMkLst>
            <pc:docMk/>
            <pc:sldMk cId="874075303" sldId="274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0:24.542" v="951"/>
          <ac:spMkLst>
            <pc:docMk/>
            <pc:sldMk cId="874075303" sldId="274"/>
            <ac:spMk id="6" creationId="{8C065919-8AA5-B67F-EE62-FF1A49270C88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0:24.544" v="953"/>
          <ac:graphicFrameMkLst>
            <pc:docMk/>
            <pc:sldMk cId="874075303" sldId="274"/>
            <ac:graphicFrameMk id="3" creationId="{4AA4518F-B2B0-8138-55D5-AFC0ECFED574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2:01.230" v="1066" actId="403"/>
        <pc:sldMkLst>
          <pc:docMk/>
          <pc:sldMk cId="820781858" sldId="275"/>
        </pc:sldMkLst>
        <pc:spChg chg="add del mod modVis">
          <ac:chgData name="Strzyminski, Grzegorz" userId="0c1cb62d-c60a-4e4f-b918-a4b6f306529d" providerId="ADAL" clId="{851932D5-6311-41D2-86BD-382E555B8B3D}" dt="2024-03-04T14:31:39.109" v="1015"/>
          <ac:spMkLst>
            <pc:docMk/>
            <pc:sldMk cId="820781858" sldId="275"/>
            <ac:spMk id="2" creationId="{3C11D985-D55F-219A-9C81-B895357E32B4}"/>
          </ac:spMkLst>
        </pc:spChg>
        <pc:spChg chg="mod">
          <ac:chgData name="Strzyminski, Grzegorz" userId="0c1cb62d-c60a-4e4f-b918-a4b6f306529d" providerId="ADAL" clId="{851932D5-6311-41D2-86BD-382E555B8B3D}" dt="2024-03-04T14:31:39.758" v="1033" actId="948"/>
          <ac:spMkLst>
            <pc:docMk/>
            <pc:sldMk cId="820781858" sldId="275"/>
            <ac:spMk id="4" creationId="{A0121CE1-AE8A-C285-EB49-0DF4545AADEB}"/>
          </ac:spMkLst>
        </pc:spChg>
        <pc:spChg chg="del">
          <ac:chgData name="Strzyminski, Grzegorz" userId="0c1cb62d-c60a-4e4f-b918-a4b6f306529d" providerId="ADAL" clId="{851932D5-6311-41D2-86BD-382E555B8B3D}" dt="2024-03-04T14:31:44.821" v="1059" actId="478"/>
          <ac:spMkLst>
            <pc:docMk/>
            <pc:sldMk cId="820781858" sldId="275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1:39.780" v="1056"/>
          <ac:spMkLst>
            <pc:docMk/>
            <pc:sldMk cId="820781858" sldId="275"/>
            <ac:spMk id="6" creationId="{8A9BB1D6-A6BE-8B07-B609-A87F89EEC836}"/>
          </ac:spMkLst>
        </pc:spChg>
        <pc:spChg chg="add del mod">
          <ac:chgData name="Strzyminski, Grzegorz" userId="0c1cb62d-c60a-4e4f-b918-a4b6f306529d" providerId="ADAL" clId="{851932D5-6311-41D2-86BD-382E555B8B3D}" dt="2024-03-04T14:31:46.304" v="1060" actId="478"/>
          <ac:spMkLst>
            <pc:docMk/>
            <pc:sldMk cId="820781858" sldId="275"/>
            <ac:spMk id="8" creationId="{C11EE3F4-EF84-9C3B-580E-2F3E2FA8F8F9}"/>
          </ac:spMkLst>
        </pc:spChg>
        <pc:spChg chg="add mod">
          <ac:chgData name="Strzyminski, Grzegorz" userId="0c1cb62d-c60a-4e4f-b918-a4b6f306529d" providerId="ADAL" clId="{851932D5-6311-41D2-86BD-382E555B8B3D}" dt="2024-03-04T14:31:57.956" v="1064" actId="403"/>
          <ac:spMkLst>
            <pc:docMk/>
            <pc:sldMk cId="820781858" sldId="275"/>
            <ac:spMk id="9" creationId="{EE114C3B-21D0-7FD4-D172-9FD39D8CE5CC}"/>
          </ac:spMkLst>
        </pc:spChg>
        <pc:spChg chg="add mod">
          <ac:chgData name="Strzyminski, Grzegorz" userId="0c1cb62d-c60a-4e4f-b918-a4b6f306529d" providerId="ADAL" clId="{851932D5-6311-41D2-86BD-382E555B8B3D}" dt="2024-03-04T14:32:01.230" v="1066" actId="403"/>
          <ac:spMkLst>
            <pc:docMk/>
            <pc:sldMk cId="820781858" sldId="275"/>
            <ac:spMk id="10" creationId="{6F3F466E-77E8-91E8-7BE2-B43A82DE8EA7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1:39.783" v="1058"/>
          <ac:graphicFrameMkLst>
            <pc:docMk/>
            <pc:sldMk cId="820781858" sldId="275"/>
            <ac:graphicFrameMk id="3" creationId="{EB43E5BD-7D98-3282-0DB8-0B2C80078610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31:47.110" v="1061"/>
          <ac:picMkLst>
            <pc:docMk/>
            <pc:sldMk cId="820781858" sldId="275"/>
            <ac:picMk id="12" creationId="{C53E74A8-389A-D34F-B740-DE488E9C6106}"/>
          </ac:picMkLst>
        </pc:picChg>
        <pc:picChg chg="add mod">
          <ac:chgData name="Strzyminski, Grzegorz" userId="0c1cb62d-c60a-4e4f-b918-a4b6f306529d" providerId="ADAL" clId="{851932D5-6311-41D2-86BD-382E555B8B3D}" dt="2024-03-04T14:31:47.110" v="1061"/>
          <ac:picMkLst>
            <pc:docMk/>
            <pc:sldMk cId="820781858" sldId="275"/>
            <ac:picMk id="13" creationId="{7716D808-C606-3D67-DF17-3248CAB4185D}"/>
          </ac:picMkLst>
        </pc:picChg>
        <pc:cxnChg chg="add mod">
          <ac:chgData name="Strzyminski, Grzegorz" userId="0c1cb62d-c60a-4e4f-b918-a4b6f306529d" providerId="ADAL" clId="{851932D5-6311-41D2-86BD-382E555B8B3D}" dt="2024-03-04T14:31:47.110" v="1061"/>
          <ac:cxnSpMkLst>
            <pc:docMk/>
            <pc:sldMk cId="820781858" sldId="275"/>
            <ac:cxnSpMk id="11" creationId="{5E1063CA-FD30-2ADB-1875-3446FBE73A80}"/>
          </ac:cxnSpMkLst>
        </pc:cxnChg>
      </pc:sldChg>
      <pc:sldChg chg="addSp delSp modSp add mod">
        <pc:chgData name="Strzyminski, Grzegorz" userId="0c1cb62d-c60a-4e4f-b918-a4b6f306529d" providerId="ADAL" clId="{851932D5-6311-41D2-86BD-382E555B8B3D}" dt="2024-03-04T14:33:21.418" v="1149" actId="403"/>
        <pc:sldMkLst>
          <pc:docMk/>
          <pc:sldMk cId="3624863287" sldId="276"/>
        </pc:sldMkLst>
        <pc:spChg chg="add del mod modVis">
          <ac:chgData name="Strzyminski, Grzegorz" userId="0c1cb62d-c60a-4e4f-b918-a4b6f306529d" providerId="ADAL" clId="{851932D5-6311-41D2-86BD-382E555B8B3D}" dt="2024-03-04T14:32:22.104" v="1115"/>
          <ac:spMkLst>
            <pc:docMk/>
            <pc:sldMk cId="3624863287" sldId="276"/>
            <ac:spMk id="2" creationId="{B13FD269-FD1D-0244-0807-DACD9F5E7335}"/>
          </ac:spMkLst>
        </pc:spChg>
        <pc:spChg chg="mod">
          <ac:chgData name="Strzyminski, Grzegorz" userId="0c1cb62d-c60a-4e4f-b918-a4b6f306529d" providerId="ADAL" clId="{851932D5-6311-41D2-86BD-382E555B8B3D}" dt="2024-03-04T14:32:22.086" v="1092" actId="948"/>
          <ac:spMkLst>
            <pc:docMk/>
            <pc:sldMk cId="3624863287" sldId="276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3:21.418" v="1149" actId="403"/>
          <ac:spMkLst>
            <pc:docMk/>
            <pc:sldMk cId="3624863287" sldId="276"/>
            <ac:spMk id="5" creationId="{16F62582-09FB-82DE-EE84-0E928DE92042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2:22.127" v="1130"/>
          <ac:graphicFrameMkLst>
            <pc:docMk/>
            <pc:sldMk cId="3624863287" sldId="276"/>
            <ac:graphicFrameMk id="3" creationId="{83F8DAEB-5DFE-4D0D-A9E7-F9479A3176F6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3:54.593" v="1316" actId="5793"/>
        <pc:sldMkLst>
          <pc:docMk/>
          <pc:sldMk cId="2520100149" sldId="277"/>
        </pc:sldMkLst>
        <pc:spChg chg="add del mod modVis">
          <ac:chgData name="Strzyminski, Grzegorz" userId="0c1cb62d-c60a-4e4f-b918-a4b6f306529d" providerId="ADAL" clId="{851932D5-6311-41D2-86BD-382E555B8B3D}" dt="2024-03-04T14:33:36.698" v="1220" actId="962"/>
          <ac:spMkLst>
            <pc:docMk/>
            <pc:sldMk cId="2520100149" sldId="277"/>
            <ac:spMk id="2" creationId="{FE4A6450-6425-6467-172F-72007AB97112}"/>
          </ac:spMkLst>
        </pc:spChg>
        <pc:spChg chg="mod">
          <ac:chgData name="Strzyminski, Grzegorz" userId="0c1cb62d-c60a-4e4f-b918-a4b6f306529d" providerId="ADAL" clId="{851932D5-6311-41D2-86BD-382E555B8B3D}" dt="2024-03-04T14:33:43.209" v="1234" actId="948"/>
          <ac:spMkLst>
            <pc:docMk/>
            <pc:sldMk cId="2520100149" sldId="277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3:54.593" v="1316" actId="5793"/>
          <ac:spMkLst>
            <pc:docMk/>
            <pc:sldMk cId="2520100149" sldId="277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3:43.226" v="1257"/>
          <ac:spMkLst>
            <pc:docMk/>
            <pc:sldMk cId="2520100149" sldId="277"/>
            <ac:spMk id="6" creationId="{32ECBEC1-8B48-B69E-65E3-0A26CC70B155}"/>
          </ac:spMkLst>
        </pc:spChg>
        <pc:graphicFrameChg chg="add mod ord modVis replST delST">
          <ac:chgData name="Strzyminski, Grzegorz" userId="0c1cb62d-c60a-4e4f-b918-a4b6f306529d" providerId="ADAL" clId="{851932D5-6311-41D2-86BD-382E555B8B3D}" dt="2024-03-04T14:33:36.690" v="1200" actId="14100"/>
          <ac:graphicFrameMkLst>
            <pc:docMk/>
            <pc:sldMk cId="2520100149" sldId="277"/>
            <ac:graphicFrameMk id="3" creationId="{6FA7609F-E671-5B39-931C-24DB186B0720}"/>
          </ac:graphicFrameMkLst>
        </pc:graphicFrameChg>
        <pc:graphicFrameChg chg="add mod ord modVis replST">
          <ac:chgData name="Strzyminski, Grzegorz" userId="0c1cb62d-c60a-4e4f-b918-a4b6f306529d" providerId="ADAL" clId="{851932D5-6311-41D2-86BD-382E555B8B3D}" dt="2024-03-04T14:33:43.249" v="1272"/>
          <ac:graphicFrameMkLst>
            <pc:docMk/>
            <pc:sldMk cId="2520100149" sldId="277"/>
            <ac:graphicFrameMk id="7" creationId="{BDA710BE-A89D-75E7-D857-26C63EF788AC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4:04.231" v="1339" actId="478"/>
        <pc:sldMkLst>
          <pc:docMk/>
          <pc:sldMk cId="2309030259" sldId="278"/>
        </pc:sldMkLst>
        <pc:spChg chg="mod">
          <ac:chgData name="Strzyminski, Grzegorz" userId="0c1cb62d-c60a-4e4f-b918-a4b6f306529d" providerId="ADAL" clId="{851932D5-6311-41D2-86BD-382E555B8B3D}" dt="2024-03-04T14:34:00.835" v="1320" actId="948"/>
          <ac:spMkLst>
            <pc:docMk/>
            <pc:sldMk cId="2309030259" sldId="278"/>
            <ac:spMk id="4" creationId="{A0121CE1-AE8A-C285-EB49-0DF4545AADEB}"/>
          </ac:spMkLst>
        </pc:spChg>
        <pc:spChg chg="del">
          <ac:chgData name="Strzyminski, Grzegorz" userId="0c1cb62d-c60a-4e4f-b918-a4b6f306529d" providerId="ADAL" clId="{851932D5-6311-41D2-86BD-382E555B8B3D}" dt="2024-03-04T14:34:02.749" v="1338" actId="478"/>
          <ac:spMkLst>
            <pc:docMk/>
            <pc:sldMk cId="2309030259" sldId="278"/>
            <ac:spMk id="5" creationId="{16F62582-09FB-82DE-EE84-0E928DE92042}"/>
          </ac:spMkLst>
        </pc:spChg>
        <pc:spChg chg="add del mod">
          <ac:chgData name="Strzyminski, Grzegorz" userId="0c1cb62d-c60a-4e4f-b918-a4b6f306529d" providerId="ADAL" clId="{851932D5-6311-41D2-86BD-382E555B8B3D}" dt="2024-03-04T14:34:04.231" v="1339" actId="478"/>
          <ac:spMkLst>
            <pc:docMk/>
            <pc:sldMk cId="2309030259" sldId="278"/>
            <ac:spMk id="6" creationId="{B8DA49BC-56DF-138A-9C58-ADF0DB81082D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4:00.858" v="1337"/>
          <ac:graphicFrameMkLst>
            <pc:docMk/>
            <pc:sldMk cId="2309030259" sldId="278"/>
            <ac:graphicFrameMk id="2" creationId="{7178A0FA-A02D-E816-61CE-77FFE47D912F}"/>
          </ac:graphicFrameMkLst>
        </pc:graphicFrameChg>
      </pc:sldChg>
      <pc:sldChg chg="addSp delSp modSp add del mod">
        <pc:chgData name="Strzyminski, Grzegorz" userId="0c1cb62d-c60a-4e4f-b918-a4b6f306529d" providerId="ADAL" clId="{851932D5-6311-41D2-86BD-382E555B8B3D}" dt="2024-03-04T14:34:35.706" v="1343" actId="47"/>
        <pc:sldMkLst>
          <pc:docMk/>
          <pc:sldMk cId="618415994" sldId="279"/>
        </pc:sldMkLst>
        <pc:spChg chg="del">
          <ac:chgData name="Strzyminski, Grzegorz" userId="0c1cb62d-c60a-4e4f-b918-a4b6f306529d" providerId="ADAL" clId="{851932D5-6311-41D2-86BD-382E555B8B3D}" dt="2024-03-04T14:34:31.461" v="1342" actId="478"/>
          <ac:spMkLst>
            <pc:docMk/>
            <pc:sldMk cId="618415994" sldId="279"/>
            <ac:spMk id="5" creationId="{16F62582-09FB-82DE-EE84-0E928DE92042}"/>
          </ac:spMkLst>
        </pc:spChg>
        <pc:spChg chg="add mod">
          <ac:chgData name="Strzyminski, Grzegorz" userId="0c1cb62d-c60a-4e4f-b918-a4b6f306529d" providerId="ADAL" clId="{851932D5-6311-41D2-86BD-382E555B8B3D}" dt="2024-03-04T14:34:31.461" v="1342" actId="478"/>
          <ac:spMkLst>
            <pc:docMk/>
            <pc:sldMk cId="618415994" sldId="279"/>
            <ac:spMk id="6" creationId="{D0F2F3F2-1A1D-0D49-935C-84162971E161}"/>
          </ac:spMkLst>
        </pc:spChg>
        <pc:picChg chg="del">
          <ac:chgData name="Strzyminski, Grzegorz" userId="0c1cb62d-c60a-4e4f-b918-a4b6f306529d" providerId="ADAL" clId="{851932D5-6311-41D2-86BD-382E555B8B3D}" dt="2024-03-04T14:34:30.223" v="1341" actId="478"/>
          <ac:picMkLst>
            <pc:docMk/>
            <pc:sldMk cId="618415994" sldId="279"/>
            <ac:picMk id="14" creationId="{B6008CF2-9F4B-6DD2-C072-372795FFE7BC}"/>
          </ac:picMkLst>
        </pc:picChg>
      </pc:sldChg>
      <pc:sldChg chg="addSp delSp modSp add mod">
        <pc:chgData name="Strzyminski, Grzegorz" userId="0c1cb62d-c60a-4e4f-b918-a4b6f306529d" providerId="ADAL" clId="{851932D5-6311-41D2-86BD-382E555B8B3D}" dt="2024-03-04T14:35:08.829" v="1414" actId="1076"/>
        <pc:sldMkLst>
          <pc:docMk/>
          <pc:sldMk cId="626726050" sldId="279"/>
        </pc:sldMkLst>
        <pc:spChg chg="add del mod modVis">
          <ac:chgData name="Strzyminski, Grzegorz" userId="0c1cb62d-c60a-4e4f-b918-a4b6f306529d" providerId="ADAL" clId="{851932D5-6311-41D2-86BD-382E555B8B3D}" dt="2024-03-04T14:34:41.559" v="1377"/>
          <ac:spMkLst>
            <pc:docMk/>
            <pc:sldMk cId="626726050" sldId="279"/>
            <ac:spMk id="3" creationId="{47120C08-16A0-5065-1FDE-1CA025C35EC2}"/>
          </ac:spMkLst>
        </pc:spChg>
        <pc:spChg chg="mod">
          <ac:chgData name="Strzyminski, Grzegorz" userId="0c1cb62d-c60a-4e4f-b918-a4b6f306529d" providerId="ADAL" clId="{851932D5-6311-41D2-86BD-382E555B8B3D}" dt="2024-03-04T14:34:44.620" v="1381" actId="948"/>
          <ac:spMkLst>
            <pc:docMk/>
            <pc:sldMk cId="626726050" sldId="279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851932D5-6311-41D2-86BD-382E555B8B3D}" dt="2024-03-04T14:34:44.637" v="1404"/>
          <ac:spMkLst>
            <pc:docMk/>
            <pc:sldMk cId="626726050" sldId="279"/>
            <ac:spMk id="5" creationId="{FE084F93-293B-590A-ABEB-C5AC696E8A4F}"/>
          </ac:spMkLst>
        </pc:spChg>
        <pc:spChg chg="add mod">
          <ac:chgData name="Strzyminski, Grzegorz" userId="0c1cb62d-c60a-4e4f-b918-a4b6f306529d" providerId="ADAL" clId="{851932D5-6311-41D2-86BD-382E555B8B3D}" dt="2024-03-04T14:35:04.061" v="1412" actId="14100"/>
          <ac:spMkLst>
            <pc:docMk/>
            <pc:sldMk cId="626726050" sldId="279"/>
            <ac:spMk id="6" creationId="{9E02816A-6CFA-3A18-F194-E49C2D4D141C}"/>
          </ac:spMkLst>
        </pc:spChg>
        <pc:graphicFrameChg chg="mod">
          <ac:chgData name="Strzyminski, Grzegorz" userId="0c1cb62d-c60a-4e4f-b918-a4b6f306529d" providerId="ADAL" clId="{851932D5-6311-41D2-86BD-382E555B8B3D}" dt="2024-03-04T14:34:44.640" v="1406"/>
          <ac:graphicFrameMkLst>
            <pc:docMk/>
            <pc:sldMk cId="626726050" sldId="279"/>
            <ac:graphicFrameMk id="2" creationId="{7178A0FA-A02D-E816-61CE-77FFE47D912F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35:08.829" v="1414" actId="1076"/>
          <ac:picMkLst>
            <pc:docMk/>
            <pc:sldMk cId="626726050" sldId="279"/>
            <ac:picMk id="7" creationId="{0DFEF9ED-46FF-DDDC-6D20-2534F2758680}"/>
          </ac:picMkLst>
        </pc:picChg>
      </pc:sldChg>
      <pc:sldMasterChg chg="addSp delSp modSp mod">
        <pc:chgData name="Strzyminski, Grzegorz" userId="0c1cb62d-c60a-4e4f-b918-a4b6f306529d" providerId="ADAL" clId="{851932D5-6311-41D2-86BD-382E555B8B3D}" dt="2024-03-04T14:25:36.466" v="107"/>
        <pc:sldMasterMkLst>
          <pc:docMk/>
          <pc:sldMasterMk cId="489246797" sldId="2147483648"/>
        </pc:sldMasterMkLst>
        <pc:spChg chg="mod">
          <ac:chgData name="Strzyminski, Grzegorz" userId="0c1cb62d-c60a-4e4f-b918-a4b6f306529d" providerId="ADAL" clId="{851932D5-6311-41D2-86BD-382E555B8B3D}" dt="2024-03-04T14:25:36.396" v="49" actId="948"/>
          <ac:spMkLst>
            <pc:docMk/>
            <pc:sldMasterMk cId="489246797" sldId="2147483648"/>
            <ac:spMk id="2" creationId="{205EAE9A-804E-34D7-4C5B-C7A082CE1634}"/>
          </ac:spMkLst>
        </pc:spChg>
        <pc:spChg chg="add del mod modVis">
          <ac:chgData name="Strzyminski, Grzegorz" userId="0c1cb62d-c60a-4e4f-b918-a4b6f306529d" providerId="ADAL" clId="{851932D5-6311-41D2-86BD-382E555B8B3D}" dt="2024-03-04T14:25:36.437" v="92"/>
          <ac:spMkLst>
            <pc:docMk/>
            <pc:sldMasterMk cId="489246797" sldId="2147483648"/>
            <ac:spMk id="7" creationId="{A2DFF0F4-EA13-44E0-80DD-4263DFC502C1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5:36.466" v="107"/>
          <ac:graphicFrameMkLst>
            <pc:docMk/>
            <pc:sldMasterMk cId="489246797" sldId="2147483648"/>
            <ac:graphicFrameMk id="8" creationId="{609C808C-1099-2B58-0FCC-BE7EC7FE9CCA}"/>
          </ac:graphicFrameMkLst>
        </pc:graphicFrameChg>
      </pc:sldMasterChg>
    </pc:docChg>
  </pc:docChgLst>
  <pc:docChgLst>
    <pc:chgData name="Lonneke Opsteegh" userId="ec2a11b1-c5a7-4109-83b7-7550d0e8e4d6" providerId="ADAL" clId="{F16F0611-EF83-4248-AE98-4DF2AC4DA88B}"/>
    <pc:docChg chg="undo custSel addSld delSld modSld sldOrd modMainMaster addSection modSection">
      <pc:chgData name="Lonneke Opsteegh" userId="ec2a11b1-c5a7-4109-83b7-7550d0e8e4d6" providerId="ADAL" clId="{F16F0611-EF83-4248-AE98-4DF2AC4DA88B}" dt="2023-02-14T15:06:55.893" v="1546" actId="14100"/>
      <pc:docMkLst>
        <pc:docMk/>
      </pc:docMkLst>
      <pc:sldChg chg="del">
        <pc:chgData name="Lonneke Opsteegh" userId="ec2a11b1-c5a7-4109-83b7-7550d0e8e4d6" providerId="ADAL" clId="{F16F0611-EF83-4248-AE98-4DF2AC4DA88B}" dt="2023-02-02T13:18:11.067" v="376" actId="2696"/>
        <pc:sldMkLst>
          <pc:docMk/>
          <pc:sldMk cId="4160661199" sldId="256"/>
        </pc:sldMkLst>
      </pc:sldChg>
      <pc:sldChg chg="del">
        <pc:chgData name="Lonneke Opsteegh" userId="ec2a11b1-c5a7-4109-83b7-7550d0e8e4d6" providerId="ADAL" clId="{F16F0611-EF83-4248-AE98-4DF2AC4DA88B}" dt="2023-02-02T13:26:59.105" v="524" actId="2696"/>
        <pc:sldMkLst>
          <pc:docMk/>
          <pc:sldMk cId="2428878521" sldId="257"/>
        </pc:sldMkLst>
      </pc:sldChg>
      <pc:sldChg chg="addSp delSp modSp mod ord">
        <pc:chgData name="Lonneke Opsteegh" userId="ec2a11b1-c5a7-4109-83b7-7550d0e8e4d6" providerId="ADAL" clId="{F16F0611-EF83-4248-AE98-4DF2AC4DA88B}" dt="2023-02-02T13:17:59.775" v="371"/>
        <pc:sldMkLst>
          <pc:docMk/>
          <pc:sldMk cId="1301266824" sldId="258"/>
        </pc:sldMkLst>
        <pc:spChg chg="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2" creationId="{138D5C59-BD8C-38FB-8C1C-8EE5BAA73B2D}"/>
          </ac:spMkLst>
        </pc:spChg>
        <pc:spChg chg="add del 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3" creationId="{827A91B0-E0A1-B35A-541F-6B1FFAF70B47}"/>
          </ac:spMkLst>
        </pc:spChg>
        <pc:spChg chg="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4" creationId="{45B470D5-021F-B321-3BF5-994D4360B211}"/>
          </ac:spMkLst>
        </pc:spChg>
        <pc:spChg chg="add del 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5" creationId="{43C53B8F-B2E2-6436-C9CE-DE801CA3CD9B}"/>
          </ac:spMkLst>
        </pc:spChg>
      </pc:sldChg>
      <pc:sldChg chg="modSp mod ord">
        <pc:chgData name="Lonneke Opsteegh" userId="ec2a11b1-c5a7-4109-83b7-7550d0e8e4d6" providerId="ADAL" clId="{F16F0611-EF83-4248-AE98-4DF2AC4DA88B}" dt="2023-02-02T13:18:42.915" v="406"/>
        <pc:sldMkLst>
          <pc:docMk/>
          <pc:sldMk cId="1325477011" sldId="259"/>
        </pc:sldMkLst>
        <pc:spChg chg="mod">
          <ac:chgData name="Lonneke Opsteegh" userId="ec2a11b1-c5a7-4109-83b7-7550d0e8e4d6" providerId="ADAL" clId="{F16F0611-EF83-4248-AE98-4DF2AC4DA88B}" dt="2023-02-02T13:16:22.470" v="249" actId="20577"/>
          <ac:spMkLst>
            <pc:docMk/>
            <pc:sldMk cId="1325477011" sldId="259"/>
            <ac:spMk id="2" creationId="{8F89ECEB-720D-B01E-4DEF-EE06C716951E}"/>
          </ac:spMkLst>
        </pc:spChg>
        <pc:spChg chg="mod">
          <ac:chgData name="Lonneke Opsteegh" userId="ec2a11b1-c5a7-4109-83b7-7550d0e8e4d6" providerId="ADAL" clId="{F16F0611-EF83-4248-AE98-4DF2AC4DA88B}" dt="2023-02-02T13:16:25.884" v="261" actId="20577"/>
          <ac:spMkLst>
            <pc:docMk/>
            <pc:sldMk cId="1325477011" sldId="259"/>
            <ac:spMk id="5" creationId="{B0481808-746A-31FD-DC53-8019B6181286}"/>
          </ac:spMkLst>
        </pc:spChg>
      </pc:sldChg>
      <pc:sldChg chg="modSp mod">
        <pc:chgData name="Lonneke Opsteegh" userId="ec2a11b1-c5a7-4109-83b7-7550d0e8e4d6" providerId="ADAL" clId="{F16F0611-EF83-4248-AE98-4DF2AC4DA88B}" dt="2023-02-02T13:17:53.921" v="369" actId="20577"/>
        <pc:sldMkLst>
          <pc:docMk/>
          <pc:sldMk cId="4187456339" sldId="260"/>
        </pc:sldMkLst>
        <pc:spChg chg="mod">
          <ac:chgData name="Lonneke Opsteegh" userId="ec2a11b1-c5a7-4109-83b7-7550d0e8e4d6" providerId="ADAL" clId="{F16F0611-EF83-4248-AE98-4DF2AC4DA88B}" dt="2023-02-02T13:17:50.403" v="357" actId="20577"/>
          <ac:spMkLst>
            <pc:docMk/>
            <pc:sldMk cId="4187456339" sldId="260"/>
            <ac:spMk id="2" creationId="{9E429EE1-2A03-DCF4-864B-6CA43EEF0937}"/>
          </ac:spMkLst>
        </pc:spChg>
        <pc:spChg chg="mod">
          <ac:chgData name="Lonneke Opsteegh" userId="ec2a11b1-c5a7-4109-83b7-7550d0e8e4d6" providerId="ADAL" clId="{F16F0611-EF83-4248-AE98-4DF2AC4DA88B}" dt="2023-02-02T13:17:53.921" v="369" actId="20577"/>
          <ac:spMkLst>
            <pc:docMk/>
            <pc:sldMk cId="4187456339" sldId="260"/>
            <ac:spMk id="3" creationId="{DFBB7D0C-60F3-CC17-FA6D-B00D08DA043A}"/>
          </ac:spMkLst>
        </pc:spChg>
      </pc:sldChg>
      <pc:sldChg chg="addSp delSp modSp mod ord">
        <pc:chgData name="Lonneke Opsteegh" userId="ec2a11b1-c5a7-4109-83b7-7550d0e8e4d6" providerId="ADAL" clId="{F16F0611-EF83-4248-AE98-4DF2AC4DA88B}" dt="2023-02-02T13:25:19.431" v="508" actId="21"/>
        <pc:sldMkLst>
          <pc:docMk/>
          <pc:sldMk cId="4049822668" sldId="261"/>
        </pc:sldMkLst>
        <pc:spChg chg="mod">
          <ac:chgData name="Lonneke Opsteegh" userId="ec2a11b1-c5a7-4109-83b7-7550d0e8e4d6" providerId="ADAL" clId="{F16F0611-EF83-4248-AE98-4DF2AC4DA88B}" dt="2023-02-02T13:16:44.831" v="276" actId="20577"/>
          <ac:spMkLst>
            <pc:docMk/>
            <pc:sldMk cId="4049822668" sldId="261"/>
            <ac:spMk id="2" creationId="{889E657B-4D32-2B3D-9FE5-B92724AEAFAE}"/>
          </ac:spMkLst>
        </pc:spChg>
        <pc:spChg chg="mod">
          <ac:chgData name="Lonneke Opsteegh" userId="ec2a11b1-c5a7-4109-83b7-7550d0e8e4d6" providerId="ADAL" clId="{F16F0611-EF83-4248-AE98-4DF2AC4DA88B}" dt="2023-02-02T13:16:49.971" v="288" actId="20577"/>
          <ac:spMkLst>
            <pc:docMk/>
            <pc:sldMk cId="4049822668" sldId="261"/>
            <ac:spMk id="3" creationId="{42031285-D413-E145-6295-E8114A33E13B}"/>
          </ac:spMkLst>
        </pc:spChg>
        <pc:spChg chg="del">
          <ac:chgData name="Lonneke Opsteegh" userId="ec2a11b1-c5a7-4109-83b7-7550d0e8e4d6" providerId="ADAL" clId="{F16F0611-EF83-4248-AE98-4DF2AC4DA88B}" dt="2023-02-02T13:16:37.145" v="263" actId="478"/>
          <ac:spMkLst>
            <pc:docMk/>
            <pc:sldMk cId="4049822668" sldId="261"/>
            <ac:spMk id="4" creationId="{E36BBEF3-471D-54EB-AF64-0C25B5412F83}"/>
          </ac:spMkLst>
        </pc:spChg>
        <pc:spChg chg="add del mod">
          <ac:chgData name="Lonneke Opsteegh" userId="ec2a11b1-c5a7-4109-83b7-7550d0e8e4d6" providerId="ADAL" clId="{F16F0611-EF83-4248-AE98-4DF2AC4DA88B}" dt="2023-02-02T13:16:39.770" v="264"/>
          <ac:spMkLst>
            <pc:docMk/>
            <pc:sldMk cId="4049822668" sldId="261"/>
            <ac:spMk id="5" creationId="{DCE9D648-905D-C229-0DF3-D63D73775AD5}"/>
          </ac:spMkLst>
        </pc:spChg>
        <pc:spChg chg="add del mod">
          <ac:chgData name="Lonneke Opsteegh" userId="ec2a11b1-c5a7-4109-83b7-7550d0e8e4d6" providerId="ADAL" clId="{F16F0611-EF83-4248-AE98-4DF2AC4DA88B}" dt="2023-02-02T13:16:39.770" v="264"/>
          <ac:spMkLst>
            <pc:docMk/>
            <pc:sldMk cId="4049822668" sldId="261"/>
            <ac:spMk id="6" creationId="{F8A81FD8-0DF9-E47D-F659-89A6B291024F}"/>
          </ac:spMkLst>
        </pc:spChg>
        <pc:spChg chg="add del mod ord">
          <ac:chgData name="Lonneke Opsteegh" userId="ec2a11b1-c5a7-4109-83b7-7550d0e8e4d6" providerId="ADAL" clId="{F16F0611-EF83-4248-AE98-4DF2AC4DA88B}" dt="2023-02-02T13:20:37.914" v="433" actId="21"/>
          <ac:spMkLst>
            <pc:docMk/>
            <pc:sldMk cId="4049822668" sldId="261"/>
            <ac:spMk id="13" creationId="{4D117172-7FFF-177F-19FE-02BD4064FBB7}"/>
          </ac:spMkLst>
        </pc:spChg>
        <pc:spChg chg="add del mod">
          <ac:chgData name="Lonneke Opsteegh" userId="ec2a11b1-c5a7-4109-83b7-7550d0e8e4d6" providerId="ADAL" clId="{F16F0611-EF83-4248-AE98-4DF2AC4DA88B}" dt="2023-02-02T13:23:40.149" v="486" actId="478"/>
          <ac:spMkLst>
            <pc:docMk/>
            <pc:sldMk cId="4049822668" sldId="261"/>
            <ac:spMk id="14" creationId="{0B399751-7522-F1E2-E99F-212CB9C05BE4}"/>
          </ac:spMkLst>
        </pc:spChg>
        <pc:spChg chg="add del mod">
          <ac:chgData name="Lonneke Opsteegh" userId="ec2a11b1-c5a7-4109-83b7-7550d0e8e4d6" providerId="ADAL" clId="{F16F0611-EF83-4248-AE98-4DF2AC4DA88B}" dt="2023-02-02T13:23:40.149" v="486" actId="478"/>
          <ac:spMkLst>
            <pc:docMk/>
            <pc:sldMk cId="4049822668" sldId="261"/>
            <ac:spMk id="15" creationId="{967723B9-A2A7-1CF8-D7F7-CE7B5D7FB3AA}"/>
          </ac:spMkLst>
        </pc:spChg>
        <pc:grpChg chg="add del mod">
          <ac:chgData name="Lonneke Opsteegh" userId="ec2a11b1-c5a7-4109-83b7-7550d0e8e4d6" providerId="ADAL" clId="{F16F0611-EF83-4248-AE98-4DF2AC4DA88B}" dt="2023-02-02T13:25:10.119" v="506" actId="165"/>
          <ac:grpSpMkLst>
            <pc:docMk/>
            <pc:sldMk cId="4049822668" sldId="261"/>
            <ac:grpSpMk id="20" creationId="{2BD0FBA1-DFD5-8F2F-A608-1810FCE24F71}"/>
          </ac:grpSpMkLst>
        </pc:grp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7" creationId="{8767D08F-A81F-957C-4EF1-34123018374D}"/>
          </ac:picMkLst>
        </pc:pic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8" creationId="{CB42370C-479F-2F22-419F-F298844E6B21}"/>
          </ac:picMkLst>
        </pc:pic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9" creationId="{86535C14-4474-B1EF-2FE3-DCCA636668D7}"/>
          </ac:picMkLst>
        </pc:picChg>
        <pc:picChg chg="add del mod topLvl modCrop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10" creationId="{D3A13FA3-5FAF-D196-495A-4A0E19918A64}"/>
          </ac:picMkLst>
        </pc:picChg>
        <pc:picChg chg="add mod">
          <ac:chgData name="Lonneke Opsteegh" userId="ec2a11b1-c5a7-4109-83b7-7550d0e8e4d6" providerId="ADAL" clId="{F16F0611-EF83-4248-AE98-4DF2AC4DA88B}" dt="2023-02-02T13:19:50.445" v="424" actId="571"/>
          <ac:picMkLst>
            <pc:docMk/>
            <pc:sldMk cId="4049822668" sldId="261"/>
            <ac:picMk id="11" creationId="{786C78FF-E700-C3DA-1B27-00FE72F58499}"/>
          </ac:picMkLst>
        </pc:picChg>
        <pc:picChg chg="add mod">
          <ac:chgData name="Lonneke Opsteegh" userId="ec2a11b1-c5a7-4109-83b7-7550d0e8e4d6" providerId="ADAL" clId="{F16F0611-EF83-4248-AE98-4DF2AC4DA88B}" dt="2023-02-02T13:19:50.445" v="424" actId="571"/>
          <ac:picMkLst>
            <pc:docMk/>
            <pc:sldMk cId="4049822668" sldId="261"/>
            <ac:picMk id="12" creationId="{0C0085E8-7333-31E2-4690-456138426BA9}"/>
          </ac:picMkLst>
        </pc:picChg>
        <pc:picChg chg="add del mod">
          <ac:chgData name="Lonneke Opsteegh" userId="ec2a11b1-c5a7-4109-83b7-7550d0e8e4d6" providerId="ADAL" clId="{F16F0611-EF83-4248-AE98-4DF2AC4DA88B}" dt="2023-02-02T13:24:36.243" v="501" actId="478"/>
          <ac:picMkLst>
            <pc:docMk/>
            <pc:sldMk cId="4049822668" sldId="261"/>
            <ac:picMk id="16" creationId="{547166CD-10B0-CCA9-AB20-A432C71566D5}"/>
          </ac:picMkLst>
        </pc:picChg>
        <pc:picChg chg="add del mod">
          <ac:chgData name="Lonneke Opsteegh" userId="ec2a11b1-c5a7-4109-83b7-7550d0e8e4d6" providerId="ADAL" clId="{F16F0611-EF83-4248-AE98-4DF2AC4DA88B}" dt="2023-02-02T13:24:36.243" v="501" actId="478"/>
          <ac:picMkLst>
            <pc:docMk/>
            <pc:sldMk cId="4049822668" sldId="261"/>
            <ac:picMk id="17" creationId="{17B9FD4E-A4E9-57A3-4150-9058E26D5365}"/>
          </ac:picMkLst>
        </pc:picChg>
        <pc:picChg chg="add mod">
          <ac:chgData name="Lonneke Opsteegh" userId="ec2a11b1-c5a7-4109-83b7-7550d0e8e4d6" providerId="ADAL" clId="{F16F0611-EF83-4248-AE98-4DF2AC4DA88B}" dt="2023-02-02T13:24:16.770" v="493" actId="571"/>
          <ac:picMkLst>
            <pc:docMk/>
            <pc:sldMk cId="4049822668" sldId="261"/>
            <ac:picMk id="18" creationId="{C1D68D57-ED80-3A88-1198-68C216AEC4FA}"/>
          </ac:picMkLst>
        </pc:picChg>
        <pc:picChg chg="add mod">
          <ac:chgData name="Lonneke Opsteegh" userId="ec2a11b1-c5a7-4109-83b7-7550d0e8e4d6" providerId="ADAL" clId="{F16F0611-EF83-4248-AE98-4DF2AC4DA88B}" dt="2023-02-02T13:24:16.770" v="493" actId="571"/>
          <ac:picMkLst>
            <pc:docMk/>
            <pc:sldMk cId="4049822668" sldId="261"/>
            <ac:picMk id="19" creationId="{8E9AADEC-53A0-6671-0E4E-0840FE42B465}"/>
          </ac:picMkLst>
        </pc:picChg>
        <pc:picChg chg="del">
          <ac:chgData name="Lonneke Opsteegh" userId="ec2a11b1-c5a7-4109-83b7-7550d0e8e4d6" providerId="ADAL" clId="{F16F0611-EF83-4248-AE98-4DF2AC4DA88B}" dt="2023-02-02T13:16:33.087" v="262" actId="478"/>
          <ac:picMkLst>
            <pc:docMk/>
            <pc:sldMk cId="4049822668" sldId="261"/>
            <ac:picMk id="1026" creationId="{61527530-91CE-65F2-5A82-9A1D7B17F36A}"/>
          </ac:picMkLst>
        </pc:picChg>
      </pc:sldChg>
      <pc:sldChg chg="del">
        <pc:chgData name="Lonneke Opsteegh" userId="ec2a11b1-c5a7-4109-83b7-7550d0e8e4d6" providerId="ADAL" clId="{F16F0611-EF83-4248-AE98-4DF2AC4DA88B}" dt="2023-02-02T13:26:38.643" v="521" actId="2696"/>
        <pc:sldMkLst>
          <pc:docMk/>
          <pc:sldMk cId="3895329891" sldId="262"/>
        </pc:sldMkLst>
      </pc:sldChg>
      <pc:sldChg chg="addSp delSp modSp mod">
        <pc:chgData name="Lonneke Opsteegh" userId="ec2a11b1-c5a7-4109-83b7-7550d0e8e4d6" providerId="ADAL" clId="{F16F0611-EF83-4248-AE98-4DF2AC4DA88B}" dt="2023-02-12T19:25:43.238" v="775" actId="21"/>
        <pc:sldMkLst>
          <pc:docMk/>
          <pc:sldMk cId="791576755" sldId="263"/>
        </pc:sldMkLst>
        <pc:spChg chg="mod">
          <ac:chgData name="Lonneke Opsteegh" userId="ec2a11b1-c5a7-4109-83b7-7550d0e8e4d6" providerId="ADAL" clId="{F16F0611-EF83-4248-AE98-4DF2AC4DA88B}" dt="2023-02-02T13:18:31.782" v="392" actId="20577"/>
          <ac:spMkLst>
            <pc:docMk/>
            <pc:sldMk cId="791576755" sldId="263"/>
            <ac:spMk id="2" creationId="{27087007-5F2C-A7B2-FEF1-DFE6D76528D1}"/>
          </ac:spMkLst>
        </pc:spChg>
        <pc:spChg chg="mod">
          <ac:chgData name="Lonneke Opsteegh" userId="ec2a11b1-c5a7-4109-83b7-7550d0e8e4d6" providerId="ADAL" clId="{F16F0611-EF83-4248-AE98-4DF2AC4DA88B}" dt="2023-02-02T13:18:35.659" v="404" actId="20577"/>
          <ac:spMkLst>
            <pc:docMk/>
            <pc:sldMk cId="791576755" sldId="263"/>
            <ac:spMk id="3" creationId="{B687B94E-33A6-3943-016E-D0856839D2C8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4" creationId="{F69D6C4B-DC92-4719-9773-7A00F49390FB}"/>
          </ac:spMkLst>
        </pc:spChg>
        <pc:spChg chg="del">
          <ac:chgData name="Lonneke Opsteegh" userId="ec2a11b1-c5a7-4109-83b7-7550d0e8e4d6" providerId="ADAL" clId="{F16F0611-EF83-4248-AE98-4DF2AC4DA88B}" dt="2023-02-02T13:18:24.694" v="379" actId="478"/>
          <ac:spMkLst>
            <pc:docMk/>
            <pc:sldMk cId="791576755" sldId="263"/>
            <ac:spMk id="5" creationId="{D6978389-85D1-AB4B-3FA8-7A3644B58D19}"/>
          </ac:spMkLst>
        </pc:spChg>
        <pc:spChg chg="del">
          <ac:chgData name="Lonneke Opsteegh" userId="ec2a11b1-c5a7-4109-83b7-7550d0e8e4d6" providerId="ADAL" clId="{F16F0611-EF83-4248-AE98-4DF2AC4DA88B}" dt="2023-02-02T13:18:24.694" v="379" actId="478"/>
          <ac:spMkLst>
            <pc:docMk/>
            <pc:sldMk cId="791576755" sldId="263"/>
            <ac:spMk id="6" creationId="{75AE17D0-1B9B-863D-1AEA-80A2E1E187F8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7" creationId="{8C9CCAFE-4D4C-7D8F-B002-2D17541B24DB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8" creationId="{9051BC77-E065-103B-8841-9F4F98A11F9C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9" creationId="{E3BBDD3E-5418-D69D-E7FE-3DD6922B656D}"/>
          </ac:spMkLst>
        </pc:spChg>
        <pc:spChg chg="add del mod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10" creationId="{CB55A9EC-E483-1809-C8BA-7D55D2B5F19D}"/>
          </ac:spMkLst>
        </pc:spChg>
        <pc:spChg chg="add del mod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11" creationId="{9B687816-9C0C-E5FB-DA08-583E06BFCD5F}"/>
          </ac:spMkLst>
        </pc:spChg>
        <pc:spChg chg="add del mod">
          <ac:chgData name="Lonneke Opsteegh" userId="ec2a11b1-c5a7-4109-83b7-7550d0e8e4d6" providerId="ADAL" clId="{F16F0611-EF83-4248-AE98-4DF2AC4DA88B}" dt="2023-02-02T13:18:26.840" v="380"/>
          <ac:spMkLst>
            <pc:docMk/>
            <pc:sldMk cId="791576755" sldId="263"/>
            <ac:spMk id="12" creationId="{94BAB2D3-DB70-377B-B80F-3F41DDC9F61C}"/>
          </ac:spMkLst>
        </pc:spChg>
        <pc:spChg chg="add del mod">
          <ac:chgData name="Lonneke Opsteegh" userId="ec2a11b1-c5a7-4109-83b7-7550d0e8e4d6" providerId="ADAL" clId="{F16F0611-EF83-4248-AE98-4DF2AC4DA88B}" dt="2023-02-02T13:18:26.840" v="380"/>
          <ac:spMkLst>
            <pc:docMk/>
            <pc:sldMk cId="791576755" sldId="263"/>
            <ac:spMk id="13" creationId="{42B040ED-F32E-4F61-88A4-4A78E218429D}"/>
          </ac:spMkLst>
        </pc:spChg>
        <pc:spChg chg="add mod ord">
          <ac:chgData name="Lonneke Opsteegh" userId="ec2a11b1-c5a7-4109-83b7-7550d0e8e4d6" providerId="ADAL" clId="{F16F0611-EF83-4248-AE98-4DF2AC4DA88B}" dt="2023-02-12T19:25:39.626" v="774" actId="164"/>
          <ac:spMkLst>
            <pc:docMk/>
            <pc:sldMk cId="791576755" sldId="263"/>
            <ac:spMk id="20" creationId="{156829CC-3CA9-051E-836E-AB60CCFC9B91}"/>
          </ac:spMkLst>
        </pc:spChg>
        <pc:grpChg chg="add del mod">
          <ac:chgData name="Lonneke Opsteegh" userId="ec2a11b1-c5a7-4109-83b7-7550d0e8e4d6" providerId="ADAL" clId="{F16F0611-EF83-4248-AE98-4DF2AC4DA88B}" dt="2023-02-12T19:25:43.238" v="775" actId="21"/>
          <ac:grpSpMkLst>
            <pc:docMk/>
            <pc:sldMk cId="791576755" sldId="263"/>
            <ac:grpSpMk id="21" creationId="{772F80AB-0AAB-2515-24EB-886FAEDCE522}"/>
          </ac:grpSpMkLst>
        </pc:grp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5" creationId="{4C387760-F681-AA9F-9166-9ECDC89E998B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7" creationId="{7EF5B46D-C118-93FA-51F1-1DB64AAC549C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9" creationId="{658D7B33-5700-1BC8-D81B-07558A648F67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1" creationId="{95805F75-4F0B-AACE-8367-269260B7F9C1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3" creationId="{BB099473-2A96-830A-B3CF-2F0610CEBF00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5" creationId="{693DA05D-0F58-541F-DCC4-BFFEDA26EA3B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7" creationId="{9AE53B19-AB16-6480-A22D-70DC4D08F922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9" creationId="{7D8D52D3-22B5-A623-4D58-3B7269A8B91D}"/>
          </ac:picMkLst>
        </pc:picChg>
      </pc:sldChg>
      <pc:sldChg chg="addSp delSp modSp mod">
        <pc:chgData name="Lonneke Opsteegh" userId="ec2a11b1-c5a7-4109-83b7-7550d0e8e4d6" providerId="ADAL" clId="{F16F0611-EF83-4248-AE98-4DF2AC4DA88B}" dt="2023-02-02T13:17:44.176" v="345" actId="20577"/>
        <pc:sldMkLst>
          <pc:docMk/>
          <pc:sldMk cId="2174704069" sldId="264"/>
        </pc:sldMkLst>
        <pc:spChg chg="add del mod">
          <ac:chgData name="Lonneke Opsteegh" userId="ec2a11b1-c5a7-4109-83b7-7550d0e8e4d6" providerId="ADAL" clId="{F16F0611-EF83-4248-AE98-4DF2AC4DA88B}" dt="2023-02-02T13:17:35.359" v="321"/>
          <ac:spMkLst>
            <pc:docMk/>
            <pc:sldMk cId="2174704069" sldId="264"/>
            <ac:spMk id="2" creationId="{0562289F-72B8-B696-4F22-6F945CE3BB83}"/>
          </ac:spMkLst>
        </pc:spChg>
        <pc:spChg chg="add mod">
          <ac:chgData name="Lonneke Opsteegh" userId="ec2a11b1-c5a7-4109-83b7-7550d0e8e4d6" providerId="ADAL" clId="{F16F0611-EF83-4248-AE98-4DF2AC4DA88B}" dt="2023-02-02T13:17:44.176" v="345" actId="20577"/>
          <ac:spMkLst>
            <pc:docMk/>
            <pc:sldMk cId="2174704069" sldId="264"/>
            <ac:spMk id="3" creationId="{79A50354-47F4-BCD4-5B65-5E8AA56640A2}"/>
          </ac:spMkLst>
        </pc:spChg>
        <pc:spChg chg="mod">
          <ac:chgData name="Lonneke Opsteegh" userId="ec2a11b1-c5a7-4109-83b7-7550d0e8e4d6" providerId="ADAL" clId="{F16F0611-EF83-4248-AE98-4DF2AC4DA88B}" dt="2023-02-02T13:17:40.569" v="333" actId="20577"/>
          <ac:spMkLst>
            <pc:docMk/>
            <pc:sldMk cId="2174704069" sldId="264"/>
            <ac:spMk id="4" creationId="{1A9FBE5F-47AE-12A1-EEA9-77F2EA0B4EB8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0" creationId="{8E36A070-D1D3-3D58-09A6-53929325C622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1" creationId="{3458F657-1999-9EB7-22E4-619272F115AD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2" creationId="{78651AFF-DE49-CD2C-223A-FF652E13B30B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3" creationId="{1F176948-88BC-4C19-1DE0-B3325A3925A0}"/>
          </ac:spMkLst>
        </pc:spChg>
        <pc:spChg chg="del">
          <ac:chgData name="Lonneke Opsteegh" userId="ec2a11b1-c5a7-4109-83b7-7550d0e8e4d6" providerId="ADAL" clId="{F16F0611-EF83-4248-AE98-4DF2AC4DA88B}" dt="2023-02-02T13:17:33.403" v="320" actId="478"/>
          <ac:spMkLst>
            <pc:docMk/>
            <pc:sldMk cId="2174704069" sldId="264"/>
            <ac:spMk id="24" creationId="{526B9C28-2B1B-8B93-7D68-4578B21AAC50}"/>
          </ac:spMkLst>
        </pc:sp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7" creationId="{D14EC5B5-A202-0399-2671-4BC6B91E98A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9" creationId="{9DC2C2E4-4F9B-DDCF-0584-F582C80FAF6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1" creationId="{7CE3F840-72E9-8A9F-D986-68A8E2F043A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3" creationId="{BEDB558B-FACA-73EB-A6B4-A94D44A5A698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9" creationId="{E6C053B0-197F-3935-57DC-D7928F954E33}"/>
          </ac:picMkLst>
        </pc:picChg>
      </pc:sldChg>
      <pc:sldChg chg="addSp modSp mod ord">
        <pc:chgData name="Lonneke Opsteegh" userId="ec2a11b1-c5a7-4109-83b7-7550d0e8e4d6" providerId="ADAL" clId="{F16F0611-EF83-4248-AE98-4DF2AC4DA88B}" dt="2023-02-12T19:13:19.445" v="541" actId="20577"/>
        <pc:sldMkLst>
          <pc:docMk/>
          <pc:sldMk cId="3288331060" sldId="265"/>
        </pc:sldMkLst>
        <pc:spChg chg="add mod">
          <ac:chgData name="Lonneke Opsteegh" userId="ec2a11b1-c5a7-4109-83b7-7550d0e8e4d6" providerId="ADAL" clId="{F16F0611-EF83-4248-AE98-4DF2AC4DA88B}" dt="2023-02-12T19:13:19.445" v="541" actId="20577"/>
          <ac:spMkLst>
            <pc:docMk/>
            <pc:sldMk cId="3288331060" sldId="265"/>
            <ac:spMk id="2" creationId="{3F6B174E-FAC9-3FDC-A4B3-44635C051B70}"/>
          </ac:spMkLst>
        </pc:spChg>
        <pc:spChg chg="mod">
          <ac:chgData name="Lonneke Opsteegh" userId="ec2a11b1-c5a7-4109-83b7-7550d0e8e4d6" providerId="ADAL" clId="{F16F0611-EF83-4248-AE98-4DF2AC4DA88B}" dt="2023-02-02T13:14:34.513" v="4" actId="14100"/>
          <ac:spMkLst>
            <pc:docMk/>
            <pc:sldMk cId="3288331060" sldId="265"/>
            <ac:spMk id="5" creationId="{62451DEB-A923-A1F7-0DF5-B3AF06ADE215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7" creationId="{A54E8F47-3C43-A0FD-DAA1-651ADAA8615D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8" creationId="{9190B7BF-999D-DCEB-65C2-492E99EA8C4F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9" creationId="{C33F47D0-0A87-BCB8-3289-4366140241A6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10" creationId="{8C71D9F7-D89B-47D5-CB7D-A25DB8CD3F08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11" creationId="{E334D4BD-C6B1-22DC-0B60-FE180AFB81FB}"/>
          </ac:spMkLst>
        </pc:spChg>
        <pc:picChg chg="mod">
          <ac:chgData name="Lonneke Opsteegh" userId="ec2a11b1-c5a7-4109-83b7-7550d0e8e4d6" providerId="ADAL" clId="{F16F0611-EF83-4248-AE98-4DF2AC4DA88B}" dt="2023-02-02T13:14:22.141" v="2" actId="1076"/>
          <ac:picMkLst>
            <pc:docMk/>
            <pc:sldMk cId="3288331060" sldId="265"/>
            <ac:picMk id="6" creationId="{DF43CA1F-F3D1-139A-5FAE-CD41E10802D2}"/>
          </ac:picMkLst>
        </pc:picChg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2971463013" sldId="266"/>
        </pc:sldMkLst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2197428089" sldId="267"/>
        </pc:sldMkLst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509646" sldId="268"/>
        </pc:sldMkLst>
      </pc:sldChg>
      <pc:sldChg chg="modSp mod ord">
        <pc:chgData name="Lonneke Opsteegh" userId="ec2a11b1-c5a7-4109-83b7-7550d0e8e4d6" providerId="ADAL" clId="{F16F0611-EF83-4248-AE98-4DF2AC4DA88B}" dt="2023-02-02T13:19:08.435" v="415"/>
        <pc:sldMkLst>
          <pc:docMk/>
          <pc:sldMk cId="3644016809" sldId="269"/>
        </pc:sldMkLst>
        <pc:spChg chg="mod">
          <ac:chgData name="Lonneke Opsteegh" userId="ec2a11b1-c5a7-4109-83b7-7550d0e8e4d6" providerId="ADAL" clId="{F16F0611-EF83-4248-AE98-4DF2AC4DA88B}" dt="2023-02-02T13:18:58.040" v="411" actId="6549"/>
          <ac:spMkLst>
            <pc:docMk/>
            <pc:sldMk cId="3644016809" sldId="269"/>
            <ac:spMk id="4" creationId="{A0121CE1-AE8A-C285-EB49-0DF4545AADEB}"/>
          </ac:spMkLst>
        </pc:spChg>
        <pc:spChg chg="mod">
          <ac:chgData name="Lonneke Opsteegh" userId="ec2a11b1-c5a7-4109-83b7-7550d0e8e4d6" providerId="ADAL" clId="{F16F0611-EF83-4248-AE98-4DF2AC4DA88B}" dt="2023-02-02T13:18:55.070" v="410" actId="20577"/>
          <ac:spMkLst>
            <pc:docMk/>
            <pc:sldMk cId="3644016809" sldId="269"/>
            <ac:spMk id="5" creationId="{16F62582-09FB-82DE-EE84-0E928DE92042}"/>
          </ac:spMkLst>
        </pc:spChg>
      </pc:sldChg>
      <pc:sldChg chg="addSp delSp modSp new mod modClrScheme chgLayout">
        <pc:chgData name="Lonneke Opsteegh" userId="ec2a11b1-c5a7-4109-83b7-7550d0e8e4d6" providerId="ADAL" clId="{F16F0611-EF83-4248-AE98-4DF2AC4DA88B}" dt="2023-02-02T13:26:08.965" v="517" actId="700"/>
        <pc:sldMkLst>
          <pc:docMk/>
          <pc:sldMk cId="1679404494" sldId="270"/>
        </pc:sldMkLst>
        <pc:spChg chg="del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2" creationId="{EAB5A8D5-EFB1-C96D-2921-E9D3C6527538}"/>
          </ac:spMkLst>
        </pc:spChg>
        <pc:spChg chg="del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3" creationId="{13C2B293-D504-2FA7-C470-9F58EE2CB6B0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4" creationId="{826FE342-87B7-A648-C038-40C65EFCF64A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5" creationId="{516765B0-8A53-B553-47C5-E860A6C0965B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6" creationId="{8C2D4B2B-6E10-5C72-9D5B-F15E0B34AFA1}"/>
          </ac:spMkLst>
        </pc:spChg>
      </pc:sldChg>
      <pc:sldChg chg="del">
        <pc:chgData name="Lonneke Opsteegh" userId="ec2a11b1-c5a7-4109-83b7-7550d0e8e4d6" providerId="ADAL" clId="{F16F0611-EF83-4248-AE98-4DF2AC4DA88B}" dt="2023-02-02T13:19:02.970" v="412" actId="47"/>
        <pc:sldMkLst>
          <pc:docMk/>
          <pc:sldMk cId="3032617558" sldId="270"/>
        </pc:sldMkLst>
      </pc:sldChg>
      <pc:sldChg chg="del">
        <pc:chgData name="Lonneke Opsteegh" userId="ec2a11b1-c5a7-4109-83b7-7550d0e8e4d6" providerId="ADAL" clId="{F16F0611-EF83-4248-AE98-4DF2AC4DA88B}" dt="2023-02-02T13:19:05.089" v="413" actId="47"/>
        <pc:sldMkLst>
          <pc:docMk/>
          <pc:sldMk cId="3905471321" sldId="271"/>
        </pc:sldMkLst>
      </pc:sldChg>
      <pc:sldChg chg="new">
        <pc:chgData name="Lonneke Opsteegh" userId="ec2a11b1-c5a7-4109-83b7-7550d0e8e4d6" providerId="ADAL" clId="{F16F0611-EF83-4248-AE98-4DF2AC4DA88B}" dt="2023-02-02T13:26:17.006" v="518" actId="680"/>
        <pc:sldMkLst>
          <pc:docMk/>
          <pc:sldMk cId="4164166654" sldId="271"/>
        </pc:sldMkLst>
      </pc:sldChg>
      <pc:sldChg chg="addSp delSp modSp new mod modClrScheme chgLayout">
        <pc:chgData name="Lonneke Opsteegh" userId="ec2a11b1-c5a7-4109-83b7-7550d0e8e4d6" providerId="ADAL" clId="{F16F0611-EF83-4248-AE98-4DF2AC4DA88B}" dt="2023-02-14T14:59:47.257" v="1487" actId="1037"/>
        <pc:sldMkLst>
          <pc:docMk/>
          <pc:sldMk cId="1295083531" sldId="272"/>
        </pc:sldMkLst>
        <pc:spChg chg="del">
          <ac:chgData name="Lonneke Opsteegh" userId="ec2a11b1-c5a7-4109-83b7-7550d0e8e4d6" providerId="ADAL" clId="{F16F0611-EF83-4248-AE98-4DF2AC4DA88B}" dt="2023-02-14T11:05:22.696" v="817" actId="700"/>
          <ac:spMkLst>
            <pc:docMk/>
            <pc:sldMk cId="1295083531" sldId="272"/>
            <ac:spMk id="2" creationId="{5EEA09DE-8B4E-D231-EFF2-3BFCFA057BA1}"/>
          </ac:spMkLst>
        </pc:spChg>
        <pc:spChg chg="del">
          <ac:chgData name="Lonneke Opsteegh" userId="ec2a11b1-c5a7-4109-83b7-7550d0e8e4d6" providerId="ADAL" clId="{F16F0611-EF83-4248-AE98-4DF2AC4DA88B}" dt="2023-02-14T11:05:22.696" v="817" actId="700"/>
          <ac:spMkLst>
            <pc:docMk/>
            <pc:sldMk cId="1295083531" sldId="272"/>
            <ac:spMk id="3" creationId="{6201B68D-F6D5-7DC7-77EF-737751317BF3}"/>
          </ac:spMkLst>
        </pc:spChg>
        <pc:spChg chg="mod">
          <ac:chgData name="Lonneke Opsteegh" userId="ec2a11b1-c5a7-4109-83b7-7550d0e8e4d6" providerId="ADAL" clId="{F16F0611-EF83-4248-AE98-4DF2AC4DA88B}" dt="2023-02-14T13:28:15.429" v="1317" actId="571"/>
          <ac:spMkLst>
            <pc:docMk/>
            <pc:sldMk cId="1295083531" sldId="272"/>
            <ac:spMk id="8" creationId="{1131C5AB-8477-0EE8-BCEB-24867299DD02}"/>
          </ac:spMkLst>
        </pc:spChg>
        <pc:spChg chg="del mod">
          <ac:chgData name="Lonneke Opsteegh" userId="ec2a11b1-c5a7-4109-83b7-7550d0e8e4d6" providerId="ADAL" clId="{F16F0611-EF83-4248-AE98-4DF2AC4DA88B}" dt="2023-02-14T11:05:30.384" v="820" actId="478"/>
          <ac:spMkLst>
            <pc:docMk/>
            <pc:sldMk cId="1295083531" sldId="272"/>
            <ac:spMk id="9" creationId="{FBDEC351-8C03-C8E6-D2BD-7A11644207EF}"/>
          </ac:spMkLst>
        </pc:spChg>
        <pc:spChg chg="add mod ord">
          <ac:chgData name="Lonneke Opsteegh" userId="ec2a11b1-c5a7-4109-83b7-7550d0e8e4d6" providerId="ADAL" clId="{F16F0611-EF83-4248-AE98-4DF2AC4DA88B}" dt="2023-02-14T11:17:30.391" v="1008" actId="164"/>
          <ac:spMkLst>
            <pc:docMk/>
            <pc:sldMk cId="1295083531" sldId="272"/>
            <ac:spMk id="18" creationId="{39688FA5-C486-ABC8-17BC-BDDBECA5ACF2}"/>
          </ac:spMkLst>
        </pc:spChg>
        <pc:spChg chg="add mod">
          <ac:chgData name="Lonneke Opsteegh" userId="ec2a11b1-c5a7-4109-83b7-7550d0e8e4d6" providerId="ADAL" clId="{F16F0611-EF83-4248-AE98-4DF2AC4DA88B}" dt="2023-02-14T14:58:04.026" v="1424" actId="1076"/>
          <ac:spMkLst>
            <pc:docMk/>
            <pc:sldMk cId="1295083531" sldId="272"/>
            <ac:spMk id="23" creationId="{F083D674-831D-3676-094B-6B763B4362F5}"/>
          </ac:spMkLst>
        </pc:spChg>
        <pc:spChg chg="add mod">
          <ac:chgData name="Lonneke Opsteegh" userId="ec2a11b1-c5a7-4109-83b7-7550d0e8e4d6" providerId="ADAL" clId="{F16F0611-EF83-4248-AE98-4DF2AC4DA88B}" dt="2023-02-14T14:57:01.764" v="1349" actId="14100"/>
          <ac:spMkLst>
            <pc:docMk/>
            <pc:sldMk cId="1295083531" sldId="272"/>
            <ac:spMk id="64" creationId="{9C3B35BE-6A9D-5D05-BEB7-61A18883B4E9}"/>
          </ac:spMkLst>
        </pc:spChg>
        <pc:spChg chg="add mod">
          <ac:chgData name="Lonneke Opsteegh" userId="ec2a11b1-c5a7-4109-83b7-7550d0e8e4d6" providerId="ADAL" clId="{F16F0611-EF83-4248-AE98-4DF2AC4DA88B}" dt="2023-02-14T12:03:14.139" v="1258" actId="14100"/>
          <ac:spMkLst>
            <pc:docMk/>
            <pc:sldMk cId="1295083531" sldId="272"/>
            <ac:spMk id="65" creationId="{117D1B6E-DCE3-06FC-3CBD-28403D44B3B3}"/>
          </ac:spMkLst>
        </pc:spChg>
        <pc:spChg chg="add mod">
          <ac:chgData name="Lonneke Opsteegh" userId="ec2a11b1-c5a7-4109-83b7-7550d0e8e4d6" providerId="ADAL" clId="{F16F0611-EF83-4248-AE98-4DF2AC4DA88B}" dt="2023-02-14T12:03:10.905" v="1257" actId="14100"/>
          <ac:spMkLst>
            <pc:docMk/>
            <pc:sldMk cId="1295083531" sldId="272"/>
            <ac:spMk id="66" creationId="{EBB766FA-455B-59EA-A113-5E3F06CA7B28}"/>
          </ac:spMkLst>
        </pc:spChg>
        <pc:spChg chg="add mod">
          <ac:chgData name="Lonneke Opsteegh" userId="ec2a11b1-c5a7-4109-83b7-7550d0e8e4d6" providerId="ADAL" clId="{F16F0611-EF83-4248-AE98-4DF2AC4DA88B}" dt="2023-02-14T12:03:02.720" v="1255" actId="1035"/>
          <ac:spMkLst>
            <pc:docMk/>
            <pc:sldMk cId="1295083531" sldId="272"/>
            <ac:spMk id="67" creationId="{88E5F62F-ED34-10DB-DBA6-D40CC7869075}"/>
          </ac:spMkLst>
        </pc:spChg>
        <pc:grpChg chg="add mod">
          <ac:chgData name="Lonneke Opsteegh" userId="ec2a11b1-c5a7-4109-83b7-7550d0e8e4d6" providerId="ADAL" clId="{F16F0611-EF83-4248-AE98-4DF2AC4DA88B}" dt="2023-02-14T13:28:15.429" v="1317" actId="571"/>
          <ac:grpSpMkLst>
            <pc:docMk/>
            <pc:sldMk cId="1295083531" sldId="272"/>
            <ac:grpSpMk id="3" creationId="{1B4CA4D1-7D4B-CAD6-6219-E9B282C02681}"/>
          </ac:grpSpMkLst>
        </pc:grpChg>
        <pc:grpChg chg="add del mod">
          <ac:chgData name="Lonneke Opsteegh" userId="ec2a11b1-c5a7-4109-83b7-7550d0e8e4d6" providerId="ADAL" clId="{F16F0611-EF83-4248-AE98-4DF2AC4DA88B}" dt="2023-02-14T11:05:35.861" v="822" actId="165"/>
          <ac:grpSpMkLst>
            <pc:docMk/>
            <pc:sldMk cId="1295083531" sldId="272"/>
            <ac:grpSpMk id="8" creationId="{6E093FA1-D677-89B4-9962-C7C2057A930B}"/>
          </ac:grpSpMkLst>
        </pc:grpChg>
        <pc:grpChg chg="add mod">
          <ac:chgData name="Lonneke Opsteegh" userId="ec2a11b1-c5a7-4109-83b7-7550d0e8e4d6" providerId="ADAL" clId="{F16F0611-EF83-4248-AE98-4DF2AC4DA88B}" dt="2023-02-14T13:29:11.929" v="1335" actId="1036"/>
          <ac:grpSpMkLst>
            <pc:docMk/>
            <pc:sldMk cId="1295083531" sldId="272"/>
            <ac:grpSpMk id="49" creationId="{635BDFFB-634F-DD51-6CAB-61109C5DC2C9}"/>
          </ac:grpSpMkLst>
        </pc:grp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2" creationId="{BB2C6526-7E4E-13FA-FF53-37BF837B0BDE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4" creationId="{FBB6ECB8-5966-FCE5-07A2-A86B0D46E2FB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5" creationId="{FF66642A-3801-BC34-B13D-47ED76F58D18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6" creationId="{6053665B-5DEE-84FE-8FF0-8937DBF7C601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7" creationId="{D64DFC32-CF2D-7140-7FF9-4DDBB0C9F7C9}"/>
          </ac:picMkLst>
        </pc:picChg>
        <pc:picChg chg="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9" creationId="{B1C99BC7-003B-CF01-0F6A-48B02482C3A6}"/>
          </ac:picMkLst>
        </pc:picChg>
        <pc:picChg chg="mod topLvl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10" creationId="{EA6BC12B-AD4C-886E-EFD6-02F83D9BAF67}"/>
          </ac:picMkLst>
        </pc:picChg>
        <pc:picChg chg="mod topLvl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11" creationId="{1674B76F-E8CB-8606-2855-1F4BC3E4EAF3}"/>
          </ac:picMkLst>
        </pc:picChg>
        <pc:picChg chg="mod topLvl modCrop">
          <ac:chgData name="Lonneke Opsteegh" userId="ec2a11b1-c5a7-4109-83b7-7550d0e8e4d6" providerId="ADAL" clId="{F16F0611-EF83-4248-AE98-4DF2AC4DA88B}" dt="2023-02-14T13:27:43.185" v="1305" actId="553"/>
          <ac:picMkLst>
            <pc:docMk/>
            <pc:sldMk cId="1295083531" sldId="272"/>
            <ac:picMk id="12" creationId="{F4F339A5-288F-2466-ED24-AF17BAF3CDEB}"/>
          </ac:picMkLst>
        </pc:picChg>
        <pc:picChg chg="mod topLvl">
          <ac:chgData name="Lonneke Opsteegh" userId="ec2a11b1-c5a7-4109-83b7-7550d0e8e4d6" providerId="ADAL" clId="{F16F0611-EF83-4248-AE98-4DF2AC4DA88B}" dt="2023-02-14T13:29:06.386" v="1330" actId="1035"/>
          <ac:picMkLst>
            <pc:docMk/>
            <pc:sldMk cId="1295083531" sldId="272"/>
            <ac:picMk id="13" creationId="{CC64D91C-73FC-6105-06DC-23F6D96C741F}"/>
          </ac:picMkLst>
        </pc:picChg>
        <pc:picChg chg="mod topLvl">
          <ac:chgData name="Lonneke Opsteegh" userId="ec2a11b1-c5a7-4109-83b7-7550d0e8e4d6" providerId="ADAL" clId="{F16F0611-EF83-4248-AE98-4DF2AC4DA88B}" dt="2023-02-14T11:17:30.391" v="1008" actId="164"/>
          <ac:picMkLst>
            <pc:docMk/>
            <pc:sldMk cId="1295083531" sldId="272"/>
            <ac:picMk id="14" creationId="{AA34F93A-6627-12A6-B4F9-415A8462EFCB}"/>
          </ac:picMkLst>
        </pc:picChg>
        <pc:picChg chg="mod topLvl modCrop">
          <ac:chgData name="Lonneke Opsteegh" userId="ec2a11b1-c5a7-4109-83b7-7550d0e8e4d6" providerId="ADAL" clId="{F16F0611-EF83-4248-AE98-4DF2AC4DA88B}" dt="2023-02-14T13:27:51.830" v="1306" actId="732"/>
          <ac:picMkLst>
            <pc:docMk/>
            <pc:sldMk cId="1295083531" sldId="272"/>
            <ac:picMk id="15" creationId="{8C9CCB94-16A3-5B89-5695-FC57F04F48DA}"/>
          </ac:picMkLst>
        </pc:picChg>
        <pc:picChg chg="mod topLvl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16" creationId="{6B7B93EE-9291-4EE5-6635-C3ACEA44FA97}"/>
          </ac:picMkLst>
        </pc:picChg>
        <pc:picChg chg="mod topLvl">
          <ac:chgData name="Lonneke Opsteegh" userId="ec2a11b1-c5a7-4109-83b7-7550d0e8e4d6" providerId="ADAL" clId="{F16F0611-EF83-4248-AE98-4DF2AC4DA88B}" dt="2023-02-14T14:59:43.494" v="1485" actId="1037"/>
          <ac:picMkLst>
            <pc:docMk/>
            <pc:sldMk cId="1295083531" sldId="272"/>
            <ac:picMk id="17" creationId="{DC57E605-BF61-EEFC-DED3-DFAB088AE0D2}"/>
          </ac:picMkLst>
        </pc:pic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19" creationId="{E451C7D7-7FD7-5F6C-8E57-D1D7E5B24DC5}"/>
          </ac:picMkLst>
        </pc:picChg>
        <pc:picChg chg="add mod">
          <ac:chgData name="Lonneke Opsteegh" userId="ec2a11b1-c5a7-4109-83b7-7550d0e8e4d6" providerId="ADAL" clId="{F16F0611-EF83-4248-AE98-4DF2AC4DA88B}" dt="2023-02-14T14:59:47.257" v="1487" actId="1037"/>
          <ac:picMkLst>
            <pc:docMk/>
            <pc:sldMk cId="1295083531" sldId="272"/>
            <ac:picMk id="20" creationId="{415B4C61-1736-74BE-8C6A-C753727D2F88}"/>
          </ac:picMkLst>
        </pc:pic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21" creationId="{7C9E0387-69E0-6CE6-6400-36DC317208BD}"/>
          </ac:picMkLst>
        </pc:picChg>
        <pc:picChg chg="add mod modCrop">
          <ac:chgData name="Lonneke Opsteegh" userId="ec2a11b1-c5a7-4109-83b7-7550d0e8e4d6" providerId="ADAL" clId="{F16F0611-EF83-4248-AE98-4DF2AC4DA88B}" dt="2023-02-14T14:58:39.689" v="1439" actId="1038"/>
          <ac:picMkLst>
            <pc:docMk/>
            <pc:sldMk cId="1295083531" sldId="272"/>
            <ac:picMk id="22" creationId="{10F82ACC-4D8C-25DB-D12A-5F83D2E2C0F0}"/>
          </ac:picMkLst>
        </pc:picChg>
        <pc:picChg chg="add mod">
          <ac:chgData name="Lonneke Opsteegh" userId="ec2a11b1-c5a7-4109-83b7-7550d0e8e4d6" providerId="ADAL" clId="{F16F0611-EF83-4248-AE98-4DF2AC4DA88B}" dt="2023-02-14T13:28:17.480" v="1318" actId="552"/>
          <ac:picMkLst>
            <pc:docMk/>
            <pc:sldMk cId="1295083531" sldId="272"/>
            <ac:picMk id="24" creationId="{2293B7F7-42AE-384A-E051-BD429F1F8E21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26" creationId="{7AFF4ACD-14F1-811C-3E2D-334C5C20EA91}"/>
          </ac:picMkLst>
        </pc:picChg>
        <pc:picChg chg="add mod">
          <ac:chgData name="Lonneke Opsteegh" userId="ec2a11b1-c5a7-4109-83b7-7550d0e8e4d6" providerId="ADAL" clId="{F16F0611-EF83-4248-AE98-4DF2AC4DA88B}" dt="2023-02-14T13:27:43.185" v="1305" actId="553"/>
          <ac:picMkLst>
            <pc:docMk/>
            <pc:sldMk cId="1295083531" sldId="272"/>
            <ac:picMk id="28" creationId="{23D23DB5-4289-04B7-618C-61D1285BF5DB}"/>
          </ac:picMkLst>
        </pc:picChg>
        <pc:picChg chg="add mod">
          <ac:chgData name="Lonneke Opsteegh" userId="ec2a11b1-c5a7-4109-83b7-7550d0e8e4d6" providerId="ADAL" clId="{F16F0611-EF83-4248-AE98-4DF2AC4DA88B}" dt="2023-02-14T13:28:17.480" v="1318" actId="552"/>
          <ac:picMkLst>
            <pc:docMk/>
            <pc:sldMk cId="1295083531" sldId="272"/>
            <ac:picMk id="30" creationId="{B0D84EE8-E9CF-7EB8-3807-A0EF831E1A26}"/>
          </ac:picMkLst>
        </pc:picChg>
        <pc:picChg chg="add mod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32" creationId="{F9C2186E-CA52-DF92-FD93-575DA34A03C9}"/>
          </ac:picMkLst>
        </pc:picChg>
        <pc:picChg chg="add mod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34" creationId="{97ABF862-06C7-33DA-732C-0F93A84BF0AA}"/>
          </ac:picMkLst>
        </pc:picChg>
        <pc:picChg chg="add mod">
          <ac:chgData name="Lonneke Opsteegh" userId="ec2a11b1-c5a7-4109-83b7-7550d0e8e4d6" providerId="ADAL" clId="{F16F0611-EF83-4248-AE98-4DF2AC4DA88B}" dt="2023-02-14T14:58:08.497" v="1425" actId="1076"/>
          <ac:picMkLst>
            <pc:docMk/>
            <pc:sldMk cId="1295083531" sldId="272"/>
            <ac:picMk id="36" creationId="{AEB63145-5B3C-EA0F-E1A3-D7EB5344B35D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38" creationId="{3653903B-479C-5CEB-5A65-8B8EB5519A10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40" creationId="{45EC5D00-2ED8-0566-E1E5-8C6F4578F6D8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42" creationId="{7AB04E64-0458-D92A-162B-B5441C27264F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44" creationId="{E33BBA26-826B-10DE-03D3-18B894DDFFD4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5" creationId="{648A903C-B30F-8EF7-2688-B7A24B1C723E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6" creationId="{753C4F70-5796-EA39-F7C2-2E5A76871A46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7" creationId="{137AD206-EA4D-48D7-C827-4A59C6BD1743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8" creationId="{5C39FED7-A602-517E-03AD-4C7A022E577D}"/>
          </ac:picMkLst>
        </pc:picChg>
        <pc:picChg chg="add mod">
          <ac:chgData name="Lonneke Opsteegh" userId="ec2a11b1-c5a7-4109-83b7-7550d0e8e4d6" providerId="ADAL" clId="{F16F0611-EF83-4248-AE98-4DF2AC4DA88B}" dt="2023-02-14T11:17:51.551" v="1015" actId="571"/>
          <ac:picMkLst>
            <pc:docMk/>
            <pc:sldMk cId="1295083531" sldId="272"/>
            <ac:picMk id="50" creationId="{58447C96-0A66-EC68-43D3-AD562F120AF0}"/>
          </ac:picMkLst>
        </pc:picChg>
        <pc:picChg chg="add mod">
          <ac:chgData name="Lonneke Opsteegh" userId="ec2a11b1-c5a7-4109-83b7-7550d0e8e4d6" providerId="ADAL" clId="{F16F0611-EF83-4248-AE98-4DF2AC4DA88B}" dt="2023-02-14T11:17:51.551" v="1015" actId="571"/>
          <ac:picMkLst>
            <pc:docMk/>
            <pc:sldMk cId="1295083531" sldId="272"/>
            <ac:picMk id="51" creationId="{A1EF0381-C4FB-C4E6-ABEC-B85294796244}"/>
          </ac:picMkLst>
        </pc:picChg>
        <pc:picChg chg="add mod">
          <ac:chgData name="Lonneke Opsteegh" userId="ec2a11b1-c5a7-4109-83b7-7550d0e8e4d6" providerId="ADAL" clId="{F16F0611-EF83-4248-AE98-4DF2AC4DA88B}" dt="2023-02-14T11:18:48.215" v="1024" actId="571"/>
          <ac:picMkLst>
            <pc:docMk/>
            <pc:sldMk cId="1295083531" sldId="272"/>
            <ac:picMk id="52" creationId="{B34CED22-899A-8E8B-C044-274F3EE06644}"/>
          </ac:picMkLst>
        </pc:picChg>
        <pc:picChg chg="add mod">
          <ac:chgData name="Lonneke Opsteegh" userId="ec2a11b1-c5a7-4109-83b7-7550d0e8e4d6" providerId="ADAL" clId="{F16F0611-EF83-4248-AE98-4DF2AC4DA88B}" dt="2023-02-14T11:18:48.215" v="1024" actId="571"/>
          <ac:picMkLst>
            <pc:docMk/>
            <pc:sldMk cId="1295083531" sldId="272"/>
            <ac:picMk id="53" creationId="{B446CE20-4337-09E2-7C7D-E8E55F8E48C3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58" creationId="{A8C02340-AA1B-7511-F14D-6B25DF8CDB40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59" creationId="{90937723-A8D1-23BD-BBB7-23995C66F31A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0" creationId="{0CBF9D37-6D11-B305-6F1F-B90423E538BE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1" creationId="{E935FEF2-0D57-3785-C67E-BDC6A1DDDFFD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2" creationId="{E596BF17-F6F6-7E7D-4F19-301B3ACE155F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3" creationId="{DDF4FB2C-1FA0-8C85-3D1C-9EC3B83B1BAC}"/>
          </ac:picMkLst>
        </pc:picChg>
        <pc:cxnChg chg="add mod">
          <ac:chgData name="Lonneke Opsteegh" userId="ec2a11b1-c5a7-4109-83b7-7550d0e8e4d6" providerId="ADAL" clId="{F16F0611-EF83-4248-AE98-4DF2AC4DA88B}" dt="2023-02-14T13:28:49.190" v="1323" actId="1076"/>
          <ac:cxnSpMkLst>
            <pc:docMk/>
            <pc:sldMk cId="1295083531" sldId="272"/>
            <ac:cxnSpMk id="55" creationId="{5DD75624-F4BD-2C02-494A-84ABD3FBBA10}"/>
          </ac:cxnSpMkLst>
        </pc:cxnChg>
        <pc:cxnChg chg="add mod">
          <ac:chgData name="Lonneke Opsteegh" userId="ec2a11b1-c5a7-4109-83b7-7550d0e8e4d6" providerId="ADAL" clId="{F16F0611-EF83-4248-AE98-4DF2AC4DA88B}" dt="2023-02-14T12:02:48.866" v="1248" actId="1036"/>
          <ac:cxnSpMkLst>
            <pc:docMk/>
            <pc:sldMk cId="1295083531" sldId="272"/>
            <ac:cxnSpMk id="56" creationId="{187778F2-FB7C-FFE2-3942-F54274C90B72}"/>
          </ac:cxnSpMkLst>
        </pc:cxnChg>
        <pc:cxnChg chg="add mod">
          <ac:chgData name="Lonneke Opsteegh" userId="ec2a11b1-c5a7-4109-83b7-7550d0e8e4d6" providerId="ADAL" clId="{F16F0611-EF83-4248-AE98-4DF2AC4DA88B}" dt="2023-02-14T11:28:38.517" v="1194" actId="1036"/>
          <ac:cxnSpMkLst>
            <pc:docMk/>
            <pc:sldMk cId="1295083531" sldId="272"/>
            <ac:cxnSpMk id="57" creationId="{8479A10E-3DFD-FA22-A062-814F236BAFDD}"/>
          </ac:cxnSpMkLst>
        </pc:cxnChg>
      </pc:sldChg>
      <pc:sldChg chg="addSp delSp modSp del mod ord">
        <pc:chgData name="Lonneke Opsteegh" userId="ec2a11b1-c5a7-4109-83b7-7550d0e8e4d6" providerId="ADAL" clId="{F16F0611-EF83-4248-AE98-4DF2AC4DA88B}" dt="2023-02-02T13:18:49.684" v="409" actId="47"/>
        <pc:sldMkLst>
          <pc:docMk/>
          <pc:sldMk cId="2599604386" sldId="272"/>
        </pc:sldMkLst>
        <pc:spChg chg="add del 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2" creationId="{07C7E070-655E-2469-C3A7-590CAF7E4B67}"/>
          </ac:spMkLst>
        </pc:spChg>
        <pc:spChg chg="add del 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3" creationId="{D59F9C7C-B560-B7D6-D6CF-34A2F3016E8C}"/>
          </ac:spMkLst>
        </pc:spChg>
        <pc:spChg chg="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4" creationId="{710A0CBF-E10D-DA52-DD9C-516303C84ABD}"/>
          </ac:spMkLst>
        </pc:spChg>
        <pc:spChg chg="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5" creationId="{63A40F95-B56E-0ED4-AE14-5420846DA296}"/>
          </ac:spMkLst>
        </pc:spChg>
        <pc:picChg chg="del">
          <ac:chgData name="Lonneke Opsteegh" userId="ec2a11b1-c5a7-4109-83b7-7550d0e8e4d6" providerId="ADAL" clId="{F16F0611-EF83-4248-AE98-4DF2AC4DA88B}" dt="2023-02-02T13:17:10.014" v="313" actId="478"/>
          <ac:picMkLst>
            <pc:docMk/>
            <pc:sldMk cId="2599604386" sldId="272"/>
            <ac:picMk id="2050" creationId="{E9C57696-876E-81DA-C842-31AE468370FB}"/>
          </ac:picMkLst>
        </pc:picChg>
      </pc:sldChg>
      <pc:sldMasterChg chg="modSp modSldLayout">
        <pc:chgData name="Lonneke Opsteegh" userId="ec2a11b1-c5a7-4109-83b7-7550d0e8e4d6" providerId="ADAL" clId="{F16F0611-EF83-4248-AE98-4DF2AC4DA88B}" dt="2023-02-14T15:06:55.893" v="1546" actId="14100"/>
        <pc:sldMasterMkLst>
          <pc:docMk/>
          <pc:sldMasterMk cId="489246797" sldId="2147483648"/>
        </pc:sldMasterMkLst>
        <pc:sldLayoutChg chg="addSp delSp modSp mod">
          <pc:chgData name="Lonneke Opsteegh" userId="ec2a11b1-c5a7-4109-83b7-7550d0e8e4d6" providerId="ADAL" clId="{F16F0611-EF83-4248-AE98-4DF2AC4DA88B}" dt="2023-02-14T15:05:46.204" v="1539" actId="14100"/>
          <pc:sldLayoutMkLst>
            <pc:docMk/>
            <pc:sldMasterMk cId="489246797" sldId="2147483648"/>
            <pc:sldLayoutMk cId="2726669288" sldId="2147483656"/>
          </pc:sldLayoutMkLst>
          <pc:spChg chg="mod">
            <ac:chgData name="Lonneke Opsteegh" userId="ec2a11b1-c5a7-4109-83b7-7550d0e8e4d6" providerId="ADAL" clId="{F16F0611-EF83-4248-AE98-4DF2AC4DA88B}" dt="2023-02-14T15:05:42.848" v="1538" actId="14100"/>
            <ac:spMkLst>
              <pc:docMk/>
              <pc:sldMasterMk cId="489246797" sldId="2147483648"/>
              <pc:sldLayoutMk cId="2726669288" sldId="2147483656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5:46.204" v="1539" actId="14100"/>
            <ac:spMkLst>
              <pc:docMk/>
              <pc:sldMasterMk cId="489246797" sldId="2147483648"/>
              <pc:sldLayoutMk cId="2726669288" sldId="2147483656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3:38.359" v="1490" actId="478"/>
            <ac:spMkLst>
              <pc:docMk/>
              <pc:sldMasterMk cId="489246797" sldId="2147483648"/>
              <pc:sldLayoutMk cId="2726669288" sldId="2147483656"/>
              <ac:spMk id="7" creationId="{0ED2B0CD-A8C7-C612-710D-AB27718B44A9}"/>
            </ac:spMkLst>
          </pc:spChg>
          <pc:spChg chg="mod">
            <ac:chgData name="Lonneke Opsteegh" userId="ec2a11b1-c5a7-4109-83b7-7550d0e8e4d6" providerId="ADAL" clId="{F16F0611-EF83-4248-AE98-4DF2AC4DA88B}" dt="2023-02-12T19:25:49.740" v="776"/>
            <ac:spMkLst>
              <pc:docMk/>
              <pc:sldMasterMk cId="489246797" sldId="2147483648"/>
              <pc:sldLayoutMk cId="2726669288" sldId="2147483656"/>
              <ac:spMk id="21" creationId="{D0A5B834-2B93-5D83-0751-E3E4EFE83FF7}"/>
            </ac:spMkLst>
          </pc:spChg>
          <pc:grpChg chg="add del mod">
            <ac:chgData name="Lonneke Opsteegh" userId="ec2a11b1-c5a7-4109-83b7-7550d0e8e4d6" providerId="ADAL" clId="{F16F0611-EF83-4248-AE98-4DF2AC4DA88B}" dt="2023-02-14T15:03:38.359" v="1490" actId="478"/>
            <ac:grpSpMkLst>
              <pc:docMk/>
              <pc:sldMasterMk cId="489246797" sldId="2147483648"/>
              <pc:sldLayoutMk cId="2726669288" sldId="2147483656"/>
              <ac:grpSpMk id="20" creationId="{C95948A3-2F4B-00BA-FC3F-C09BCDD6DB0B}"/>
            </ac:grpSpMkLst>
          </pc:grp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9" creationId="{7A8FBC28-3EAD-DFE1-CB11-90FB71A587A4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7" creationId="{439ADCBB-523F-FA84-3AC4-CBAEB24C5876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8" creationId="{4BEF9F77-8D2E-E8C9-3705-9DF94E2B77CF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9" creationId="{3D985502-FF1D-6DC1-D0E4-9D7FE78548D1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2" creationId="{CBA44AC8-5BFE-E925-F60E-147454461D2F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3" creationId="{C3FC0651-6CB2-55FA-902F-1FB728BE9927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4" creationId="{BCD07538-97F4-FF9C-EDE9-733947300690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5" creationId="{AA2CCA52-5CFB-3EE0-7839-7076B163F1BC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6" creationId="{BF1550C6-AFA0-7897-A9B5-B50AC4AD9FE3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7" creationId="{9001DD52-5DD3-0DEF-75A3-87FE3E755B12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8" creationId="{65CB5CD9-A09B-8885-06A2-59D6BFB317E5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9" creationId="{FD32F049-035B-52A1-3457-87BD27296B1E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04.293" v="1540" actId="14100"/>
          <pc:sldLayoutMkLst>
            <pc:docMk/>
            <pc:sldMasterMk cId="489246797" sldId="2147483648"/>
            <pc:sldLayoutMk cId="4273537835" sldId="2147483657"/>
          </pc:sldLayoutMkLst>
          <pc:spChg chg="mod">
            <ac:chgData name="Lonneke Opsteegh" userId="ec2a11b1-c5a7-4109-83b7-7550d0e8e4d6" providerId="ADAL" clId="{F16F0611-EF83-4248-AE98-4DF2AC4DA88B}" dt="2023-02-14T15:06:04.293" v="1540" actId="14100"/>
            <ac:spMkLst>
              <pc:docMk/>
              <pc:sldMasterMk cId="489246797" sldId="2147483648"/>
              <pc:sldLayoutMk cId="4273537835" sldId="2147483657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04.293" v="1540" actId="14100"/>
            <ac:spMkLst>
              <pc:docMk/>
              <pc:sldMasterMk cId="489246797" sldId="2147483648"/>
              <pc:sldLayoutMk cId="4273537835" sldId="2147483657"/>
              <ac:spMk id="3" creationId="{A802B085-83E8-0262-A1F6-E3868EF64F01}"/>
            </ac:spMkLst>
          </pc:spChg>
          <pc:spChg chg="mod">
            <ac:chgData name="Lonneke Opsteegh" userId="ec2a11b1-c5a7-4109-83b7-7550d0e8e4d6" providerId="ADAL" clId="{F16F0611-EF83-4248-AE98-4DF2AC4DA88B}" dt="2023-02-14T15:04:57.942" v="1530" actId="1076"/>
            <ac:spMkLst>
              <pc:docMk/>
              <pc:sldMasterMk cId="489246797" sldId="2147483648"/>
              <pc:sldLayoutMk cId="4273537835" sldId="2147483657"/>
              <ac:spMk id="6" creationId="{A98AD632-609B-FE74-E40B-3588F7E9799C}"/>
            </ac:spMkLst>
          </pc:spChg>
          <pc:spChg chg="add del mod ord">
            <ac:chgData name="Lonneke Opsteegh" userId="ec2a11b1-c5a7-4109-83b7-7550d0e8e4d6" providerId="ADAL" clId="{F16F0611-EF83-4248-AE98-4DF2AC4DA88B}" dt="2023-02-14T15:04:55.430" v="1524" actId="478"/>
            <ac:spMkLst>
              <pc:docMk/>
              <pc:sldMasterMk cId="489246797" sldId="2147483648"/>
              <pc:sldLayoutMk cId="4273537835" sldId="2147483657"/>
              <ac:spMk id="8" creationId="{217EA168-E605-6310-8407-06EB0FD43FDB}"/>
            </ac:spMkLst>
          </pc:spChg>
          <pc:spChg chg="mod">
            <ac:chgData name="Lonneke Opsteegh" userId="ec2a11b1-c5a7-4109-83b7-7550d0e8e4d6" providerId="ADAL" clId="{F16F0611-EF83-4248-AE98-4DF2AC4DA88B}" dt="2023-02-12T19:27:03.525" v="792" actId="207"/>
            <ac:spMkLst>
              <pc:docMk/>
              <pc:sldMasterMk cId="489246797" sldId="2147483648"/>
              <pc:sldLayoutMk cId="4273537835" sldId="2147483657"/>
              <ac:spMk id="21" creationId="{9AE87D90-140C-3E1E-44BD-32A6A5D1D557}"/>
            </ac:spMkLst>
          </pc:spChg>
          <pc:spChg chg="add del mod">
            <ac:chgData name="Lonneke Opsteegh" userId="ec2a11b1-c5a7-4109-83b7-7550d0e8e4d6" providerId="ADAL" clId="{F16F0611-EF83-4248-AE98-4DF2AC4DA88B}" dt="2023-02-12T19:26:49.900" v="789" actId="478"/>
            <ac:spMkLst>
              <pc:docMk/>
              <pc:sldMasterMk cId="489246797" sldId="2147483648"/>
              <pc:sldLayoutMk cId="4273537835" sldId="2147483657"/>
              <ac:spMk id="30" creationId="{FAD25E98-7FBF-B854-A1AD-5148623DE893}"/>
            </ac:spMkLst>
          </pc:spChg>
          <pc:grpChg chg="add del mod">
            <ac:chgData name="Lonneke Opsteegh" userId="ec2a11b1-c5a7-4109-83b7-7550d0e8e4d6" providerId="ADAL" clId="{F16F0611-EF83-4248-AE98-4DF2AC4DA88B}" dt="2023-02-14T15:04:59.828" v="1533" actId="478"/>
            <ac:grpSpMkLst>
              <pc:docMk/>
              <pc:sldMasterMk cId="489246797" sldId="2147483648"/>
              <pc:sldLayoutMk cId="4273537835" sldId="2147483657"/>
              <ac:grpSpMk id="20" creationId="{E4B352C2-CC7D-9AA6-15A9-A943CB7AEA2F}"/>
            </ac:grpSpMkLst>
          </pc:grpChg>
          <pc:picChg chg="add del mod">
            <ac:chgData name="Lonneke Opsteegh" userId="ec2a11b1-c5a7-4109-83b7-7550d0e8e4d6" providerId="ADAL" clId="{F16F0611-EF83-4248-AE98-4DF2AC4DA88B}" dt="2023-02-14T15:04:55.977" v="1526" actId="478"/>
            <ac:picMkLst>
              <pc:docMk/>
              <pc:sldMasterMk cId="489246797" sldId="2147483648"/>
              <pc:sldLayoutMk cId="4273537835" sldId="2147483657"/>
              <ac:picMk id="9" creationId="{C965895A-68C3-CA88-C3E7-924DA18E48FD}"/>
            </ac:picMkLst>
          </pc:picChg>
          <pc:picChg chg="add del mod">
            <ac:chgData name="Lonneke Opsteegh" userId="ec2a11b1-c5a7-4109-83b7-7550d0e8e4d6" providerId="ADAL" clId="{F16F0611-EF83-4248-AE98-4DF2AC4DA88B}" dt="2023-02-14T15:04:58.982" v="1531" actId="478"/>
            <ac:picMkLst>
              <pc:docMk/>
              <pc:sldMasterMk cId="489246797" sldId="2147483648"/>
              <pc:sldLayoutMk cId="4273537835" sldId="2147483657"/>
              <ac:picMk id="17" creationId="{D6E00EC3-B093-7199-8F36-E3E580A7808F}"/>
            </ac:picMkLst>
          </pc:picChg>
          <pc:picChg chg="add del mod">
            <ac:chgData name="Lonneke Opsteegh" userId="ec2a11b1-c5a7-4109-83b7-7550d0e8e4d6" providerId="ADAL" clId="{F16F0611-EF83-4248-AE98-4DF2AC4DA88B}" dt="2023-02-14T15:04:54.856" v="1522" actId="478"/>
            <ac:picMkLst>
              <pc:docMk/>
              <pc:sldMasterMk cId="489246797" sldId="2147483648"/>
              <pc:sldLayoutMk cId="4273537835" sldId="2147483657"/>
              <ac:picMk id="18" creationId="{15B3D55A-E5F9-03EF-2D36-13C387F269C2}"/>
            </ac:picMkLst>
          </pc:picChg>
          <pc:picChg chg="add del mod">
            <ac:chgData name="Lonneke Opsteegh" userId="ec2a11b1-c5a7-4109-83b7-7550d0e8e4d6" providerId="ADAL" clId="{F16F0611-EF83-4248-AE98-4DF2AC4DA88B}" dt="2023-02-14T15:04:57.255" v="1528" actId="478"/>
            <ac:picMkLst>
              <pc:docMk/>
              <pc:sldMasterMk cId="489246797" sldId="2147483648"/>
              <pc:sldLayoutMk cId="4273537835" sldId="2147483657"/>
              <ac:picMk id="19" creationId="{65705C31-656E-1E8B-215B-CB49DD6B8161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2" creationId="{07D7E451-774C-95C1-94FE-A2601E0CF21E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3" creationId="{15A2EA4C-8829-F77D-F38A-F0151ACFC1DA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4" creationId="{2309D1AA-EDE9-A754-BAEE-74A5A7FD8E18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5" creationId="{69E85799-F4EF-FAF0-EC30-DC509EDE52A3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6" creationId="{7182AAA4-97C4-279A-3956-5F3824CEC3BC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7" creationId="{1A2BDAEF-D284-0ACA-D289-C6103A789FF1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8" creationId="{D158DED8-9488-5580-354C-E5E11547C90D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9" creationId="{3382C35B-656B-0A36-05D3-F7ED0E9ED0C3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17.586" v="1541" actId="14100"/>
          <pc:sldLayoutMkLst>
            <pc:docMk/>
            <pc:sldMasterMk cId="489246797" sldId="2147483648"/>
            <pc:sldLayoutMk cId="4072893671" sldId="2147483658"/>
          </pc:sldLayoutMkLst>
          <pc:spChg chg="mod">
            <ac:chgData name="Lonneke Opsteegh" userId="ec2a11b1-c5a7-4109-83b7-7550d0e8e4d6" providerId="ADAL" clId="{F16F0611-EF83-4248-AE98-4DF2AC4DA88B}" dt="2023-02-14T15:06:17.586" v="1541" actId="14100"/>
            <ac:spMkLst>
              <pc:docMk/>
              <pc:sldMasterMk cId="489246797" sldId="2147483648"/>
              <pc:sldLayoutMk cId="4072893671" sldId="2147483658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17.586" v="1541" actId="14100"/>
            <ac:spMkLst>
              <pc:docMk/>
              <pc:sldMasterMk cId="489246797" sldId="2147483648"/>
              <pc:sldLayoutMk cId="4072893671" sldId="2147483658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06.013" v="1498" actId="478"/>
            <ac:spMkLst>
              <pc:docMk/>
              <pc:sldMasterMk cId="489246797" sldId="2147483648"/>
              <pc:sldLayoutMk cId="4072893671" sldId="2147483658"/>
              <ac:spMk id="8" creationId="{360ECA4B-1AF5-7883-CD2F-98A3365F7685}"/>
            </ac:spMkLst>
          </pc:spChg>
          <pc:spChg chg="mod">
            <ac:chgData name="Lonneke Opsteegh" userId="ec2a11b1-c5a7-4109-83b7-7550d0e8e4d6" providerId="ADAL" clId="{F16F0611-EF83-4248-AE98-4DF2AC4DA88B}" dt="2023-02-12T19:27:50.927" v="798" actId="207"/>
            <ac:spMkLst>
              <pc:docMk/>
              <pc:sldMasterMk cId="489246797" sldId="2147483648"/>
              <pc:sldLayoutMk cId="4072893671" sldId="2147483658"/>
              <ac:spMk id="21" creationId="{ECBABBA0-61C9-5751-1819-8F3853875FC7}"/>
            </ac:spMkLst>
          </pc:spChg>
          <pc:grpChg chg="add del mod">
            <ac:chgData name="Lonneke Opsteegh" userId="ec2a11b1-c5a7-4109-83b7-7550d0e8e4d6" providerId="ADAL" clId="{F16F0611-EF83-4248-AE98-4DF2AC4DA88B}" dt="2023-02-14T15:04:01.548" v="1492" actId="478"/>
            <ac:grpSpMkLst>
              <pc:docMk/>
              <pc:sldMasterMk cId="489246797" sldId="2147483648"/>
              <pc:sldLayoutMk cId="4072893671" sldId="2147483658"/>
              <ac:grpSpMk id="20" creationId="{BA227576-AEC8-98A3-6EF0-DE9DA34BC05B}"/>
            </ac:grpSpMkLst>
          </pc:grpChg>
          <pc:picChg chg="add del mod">
            <ac:chgData name="Lonneke Opsteegh" userId="ec2a11b1-c5a7-4109-83b7-7550d0e8e4d6" providerId="ADAL" clId="{F16F0611-EF83-4248-AE98-4DF2AC4DA88B}" dt="2023-02-14T15:04:04.548" v="1495" actId="478"/>
            <ac:picMkLst>
              <pc:docMk/>
              <pc:sldMasterMk cId="489246797" sldId="2147483648"/>
              <pc:sldLayoutMk cId="4072893671" sldId="2147483658"/>
              <ac:picMk id="9" creationId="{29CF1614-DE06-129E-DAF6-C22411507581}"/>
            </ac:picMkLst>
          </pc:picChg>
          <pc:picChg chg="add del mod">
            <ac:chgData name="Lonneke Opsteegh" userId="ec2a11b1-c5a7-4109-83b7-7550d0e8e4d6" providerId="ADAL" clId="{F16F0611-EF83-4248-AE98-4DF2AC4DA88B}" dt="2023-02-14T15:04:02.888" v="1493" actId="478"/>
            <ac:picMkLst>
              <pc:docMk/>
              <pc:sldMasterMk cId="489246797" sldId="2147483648"/>
              <pc:sldLayoutMk cId="4072893671" sldId="2147483658"/>
              <ac:picMk id="17" creationId="{B4C42BA0-AA57-CA8B-8370-BC91F65174E1}"/>
            </ac:picMkLst>
          </pc:picChg>
          <pc:picChg chg="add del mod">
            <ac:chgData name="Lonneke Opsteegh" userId="ec2a11b1-c5a7-4109-83b7-7550d0e8e4d6" providerId="ADAL" clId="{F16F0611-EF83-4248-AE98-4DF2AC4DA88B}" dt="2023-02-14T15:04:05.167" v="1496" actId="478"/>
            <ac:picMkLst>
              <pc:docMk/>
              <pc:sldMasterMk cId="489246797" sldId="2147483648"/>
              <pc:sldLayoutMk cId="4072893671" sldId="2147483658"/>
              <ac:picMk id="18" creationId="{12241F2F-073E-4EB0-A629-E00A4FEE635F}"/>
            </ac:picMkLst>
          </pc:picChg>
          <pc:picChg chg="add del mod">
            <ac:chgData name="Lonneke Opsteegh" userId="ec2a11b1-c5a7-4109-83b7-7550d0e8e4d6" providerId="ADAL" clId="{F16F0611-EF83-4248-AE98-4DF2AC4DA88B}" dt="2023-02-14T15:04:04.055" v="1494" actId="478"/>
            <ac:picMkLst>
              <pc:docMk/>
              <pc:sldMasterMk cId="489246797" sldId="2147483648"/>
              <pc:sldLayoutMk cId="4072893671" sldId="2147483658"/>
              <ac:picMk id="19" creationId="{A9457B51-C897-8BA3-D256-E6EB0DA7495E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2" creationId="{CC2A9260-6B70-FED7-1996-8F2F3D5EF071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3" creationId="{8F228AEF-CE20-C942-E590-9B3D5C6835AE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4" creationId="{658F91C5-BBE4-CE0F-6063-B45956BCCC90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5" creationId="{D20D076F-A35E-DA13-19FE-404BB8A09299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6" creationId="{4CD05E79-1A6D-70E5-231B-34C0EFB90FD9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7" creationId="{1168BAF0-DADE-D6C1-56BA-B9B5AE5E69E8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8" creationId="{B513D928-7204-0C36-E780-621750EF824F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9" creationId="{6048A70F-0227-34AF-967C-D9054F0A88C3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33.003" v="1542" actId="14100"/>
          <pc:sldLayoutMkLst>
            <pc:docMk/>
            <pc:sldMasterMk cId="489246797" sldId="2147483648"/>
            <pc:sldLayoutMk cId="3007318907" sldId="2147483659"/>
          </pc:sldLayoutMkLst>
          <pc:spChg chg="mod">
            <ac:chgData name="Lonneke Opsteegh" userId="ec2a11b1-c5a7-4109-83b7-7550d0e8e4d6" providerId="ADAL" clId="{F16F0611-EF83-4248-AE98-4DF2AC4DA88B}" dt="2023-02-14T15:06:33.003" v="1542" actId="14100"/>
            <ac:spMkLst>
              <pc:docMk/>
              <pc:sldMasterMk cId="489246797" sldId="2147483648"/>
              <pc:sldLayoutMk cId="3007318907" sldId="2147483659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33.003" v="1542" actId="14100"/>
            <ac:spMkLst>
              <pc:docMk/>
              <pc:sldMasterMk cId="489246797" sldId="2147483648"/>
              <pc:sldLayoutMk cId="3007318907" sldId="2147483659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09.705" v="1501" actId="478"/>
            <ac:spMkLst>
              <pc:docMk/>
              <pc:sldMasterMk cId="489246797" sldId="2147483648"/>
              <pc:sldLayoutMk cId="3007318907" sldId="2147483659"/>
              <ac:spMk id="8" creationId="{ED5659CD-7172-19EF-A495-61540F6D05A4}"/>
            </ac:spMkLst>
          </pc:spChg>
          <pc:spChg chg="mod">
            <ac:chgData name="Lonneke Opsteegh" userId="ec2a11b1-c5a7-4109-83b7-7550d0e8e4d6" providerId="ADAL" clId="{F16F0611-EF83-4248-AE98-4DF2AC4DA88B}" dt="2023-02-12T19:28:22.652" v="802" actId="207"/>
            <ac:spMkLst>
              <pc:docMk/>
              <pc:sldMasterMk cId="489246797" sldId="2147483648"/>
              <pc:sldLayoutMk cId="3007318907" sldId="2147483659"/>
              <ac:spMk id="21" creationId="{F54220BB-F2A4-DB21-09FD-D7C2B5778709}"/>
            </ac:spMkLst>
          </pc:spChg>
          <pc:grpChg chg="add del mod">
            <ac:chgData name="Lonneke Opsteegh" userId="ec2a11b1-c5a7-4109-83b7-7550d0e8e4d6" providerId="ADAL" clId="{F16F0611-EF83-4248-AE98-4DF2AC4DA88B}" dt="2023-02-14T15:04:08.333" v="1499" actId="478"/>
            <ac:grpSpMkLst>
              <pc:docMk/>
              <pc:sldMasterMk cId="489246797" sldId="2147483648"/>
              <pc:sldLayoutMk cId="3007318907" sldId="2147483659"/>
              <ac:grpSpMk id="20" creationId="{FE10E1DD-76FB-A359-B418-53496B5398E6}"/>
            </ac:grpSpMkLst>
          </pc:grpChg>
          <pc:picChg chg="add del mod">
            <ac:chgData name="Lonneke Opsteegh" userId="ec2a11b1-c5a7-4109-83b7-7550d0e8e4d6" providerId="ADAL" clId="{F16F0611-EF83-4248-AE98-4DF2AC4DA88B}" dt="2023-02-14T15:04:10.788" v="1503" actId="478"/>
            <ac:picMkLst>
              <pc:docMk/>
              <pc:sldMasterMk cId="489246797" sldId="2147483648"/>
              <pc:sldLayoutMk cId="3007318907" sldId="2147483659"/>
              <ac:picMk id="9" creationId="{43CB5BB3-045C-7CB5-60E7-476BA61BB4DC}"/>
            </ac:picMkLst>
          </pc:picChg>
          <pc:picChg chg="add del mod">
            <ac:chgData name="Lonneke Opsteegh" userId="ec2a11b1-c5a7-4109-83b7-7550d0e8e4d6" providerId="ADAL" clId="{F16F0611-EF83-4248-AE98-4DF2AC4DA88B}" dt="2023-02-14T15:04:09.138" v="1500" actId="478"/>
            <ac:picMkLst>
              <pc:docMk/>
              <pc:sldMasterMk cId="489246797" sldId="2147483648"/>
              <pc:sldLayoutMk cId="3007318907" sldId="2147483659"/>
              <ac:picMk id="17" creationId="{80C07849-2352-C8A7-88C1-C2A0BCD28708}"/>
            </ac:picMkLst>
          </pc:picChg>
          <pc:picChg chg="add del mod">
            <ac:chgData name="Lonneke Opsteegh" userId="ec2a11b1-c5a7-4109-83b7-7550d0e8e4d6" providerId="ADAL" clId="{F16F0611-EF83-4248-AE98-4DF2AC4DA88B}" dt="2023-02-14T15:04:11.315" v="1504" actId="478"/>
            <ac:picMkLst>
              <pc:docMk/>
              <pc:sldMasterMk cId="489246797" sldId="2147483648"/>
              <pc:sldLayoutMk cId="3007318907" sldId="2147483659"/>
              <ac:picMk id="18" creationId="{0B817E6C-EDFD-8DA6-78A9-250D62143EEF}"/>
            </ac:picMkLst>
          </pc:picChg>
          <pc:picChg chg="add del mod">
            <ac:chgData name="Lonneke Opsteegh" userId="ec2a11b1-c5a7-4109-83b7-7550d0e8e4d6" providerId="ADAL" clId="{F16F0611-EF83-4248-AE98-4DF2AC4DA88B}" dt="2023-02-14T15:04:10.250" v="1502" actId="478"/>
            <ac:picMkLst>
              <pc:docMk/>
              <pc:sldMasterMk cId="489246797" sldId="2147483648"/>
              <pc:sldLayoutMk cId="3007318907" sldId="2147483659"/>
              <ac:picMk id="19" creationId="{D015EFD5-AC09-72CC-37FA-90D10AA490CD}"/>
            </ac:picMkLst>
          </pc:picChg>
          <pc:picChg chg="mod">
            <ac:chgData name="Lonneke Opsteegh" userId="ec2a11b1-c5a7-4109-83b7-7550d0e8e4d6" providerId="ADAL" clId="{F16F0611-EF83-4248-AE98-4DF2AC4DA88B}" dt="2023-02-12T19:28:43.664" v="806" actId="1076"/>
            <ac:picMkLst>
              <pc:docMk/>
              <pc:sldMasterMk cId="489246797" sldId="2147483648"/>
              <pc:sldLayoutMk cId="3007318907" sldId="2147483659"/>
              <ac:picMk id="22" creationId="{A991A522-CD99-8DC1-E31E-46215F489352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3" creationId="{98942F2F-8821-6352-E611-9A7749239A13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4" creationId="{EFE068D6-ACC4-23B6-FC5F-37ADC0F5746C}"/>
            </ac:picMkLst>
          </pc:picChg>
          <pc:picChg chg="mod">
            <ac:chgData name="Lonneke Opsteegh" userId="ec2a11b1-c5a7-4109-83b7-7550d0e8e4d6" providerId="ADAL" clId="{F16F0611-EF83-4248-AE98-4DF2AC4DA88B}" dt="2023-02-12T19:28:43.664" v="806" actId="1076"/>
            <ac:picMkLst>
              <pc:docMk/>
              <pc:sldMasterMk cId="489246797" sldId="2147483648"/>
              <pc:sldLayoutMk cId="3007318907" sldId="2147483659"/>
              <ac:picMk id="25" creationId="{631E7553-EBF3-E6BB-02CB-699F5CC7ADEE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6" creationId="{49D1AEBA-4E89-7253-2108-66267031EC4F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7" creationId="{20063712-B865-8333-15B9-85C507FA6595}"/>
            </ac:picMkLst>
          </pc:picChg>
          <pc:picChg chg="mod">
            <ac:chgData name="Lonneke Opsteegh" userId="ec2a11b1-c5a7-4109-83b7-7550d0e8e4d6" providerId="ADAL" clId="{F16F0611-EF83-4248-AE98-4DF2AC4DA88B}" dt="2023-02-12T19:28:39.397" v="805" actId="1076"/>
            <ac:picMkLst>
              <pc:docMk/>
              <pc:sldMasterMk cId="489246797" sldId="2147483648"/>
              <pc:sldLayoutMk cId="3007318907" sldId="2147483659"/>
              <ac:picMk id="28" creationId="{4998F4E0-BA85-FABE-D70A-50624F3DDDEF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9" creationId="{471A06B5-08FF-A9D6-663D-631896D1829A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45.001" v="1545" actId="14100"/>
          <pc:sldLayoutMkLst>
            <pc:docMk/>
            <pc:sldMasterMk cId="489246797" sldId="2147483648"/>
            <pc:sldLayoutMk cId="757479901" sldId="2147483660"/>
          </pc:sldLayoutMkLst>
          <pc:spChg chg="mod">
            <ac:chgData name="Lonneke Opsteegh" userId="ec2a11b1-c5a7-4109-83b7-7550d0e8e4d6" providerId="ADAL" clId="{F16F0611-EF83-4248-AE98-4DF2AC4DA88B}" dt="2023-02-14T15:06:45.001" v="1545" actId="14100"/>
            <ac:spMkLst>
              <pc:docMk/>
              <pc:sldMasterMk cId="489246797" sldId="2147483648"/>
              <pc:sldLayoutMk cId="757479901" sldId="2147483660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45.001" v="1545" actId="14100"/>
            <ac:spMkLst>
              <pc:docMk/>
              <pc:sldMasterMk cId="489246797" sldId="2147483648"/>
              <pc:sldLayoutMk cId="757479901" sldId="2147483660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16.946" v="1512" actId="478"/>
            <ac:spMkLst>
              <pc:docMk/>
              <pc:sldMasterMk cId="489246797" sldId="2147483648"/>
              <pc:sldLayoutMk cId="757479901" sldId="2147483660"/>
              <ac:spMk id="8" creationId="{EA899F0A-1441-C2BB-EBBD-C7582AB14528}"/>
            </ac:spMkLst>
          </pc:spChg>
          <pc:spChg chg="mod">
            <ac:chgData name="Lonneke Opsteegh" userId="ec2a11b1-c5a7-4109-83b7-7550d0e8e4d6" providerId="ADAL" clId="{F16F0611-EF83-4248-AE98-4DF2AC4DA88B}" dt="2023-02-12T19:29:23.565" v="810" actId="207"/>
            <ac:spMkLst>
              <pc:docMk/>
              <pc:sldMasterMk cId="489246797" sldId="2147483648"/>
              <pc:sldLayoutMk cId="757479901" sldId="2147483660"/>
              <ac:spMk id="21" creationId="{2DC0FD52-1AF4-6063-6FE4-C5EC440C9273}"/>
            </ac:spMkLst>
          </pc:spChg>
          <pc:grpChg chg="add del mod">
            <ac:chgData name="Lonneke Opsteegh" userId="ec2a11b1-c5a7-4109-83b7-7550d0e8e4d6" providerId="ADAL" clId="{F16F0611-EF83-4248-AE98-4DF2AC4DA88B}" dt="2023-02-14T15:04:13.367" v="1506" actId="478"/>
            <ac:grpSpMkLst>
              <pc:docMk/>
              <pc:sldMasterMk cId="489246797" sldId="2147483648"/>
              <pc:sldLayoutMk cId="757479901" sldId="2147483660"/>
              <ac:grpSpMk id="20" creationId="{324A42B6-674A-0A4E-8BF2-C18A6DC72B85}"/>
            </ac:grpSpMkLst>
          </pc:grpChg>
          <pc:picChg chg="add del mod">
            <ac:chgData name="Lonneke Opsteegh" userId="ec2a11b1-c5a7-4109-83b7-7550d0e8e4d6" providerId="ADAL" clId="{F16F0611-EF83-4248-AE98-4DF2AC4DA88B}" dt="2023-02-14T15:04:15.709" v="1509" actId="478"/>
            <ac:picMkLst>
              <pc:docMk/>
              <pc:sldMasterMk cId="489246797" sldId="2147483648"/>
              <pc:sldLayoutMk cId="757479901" sldId="2147483660"/>
              <ac:picMk id="9" creationId="{39B9E343-C4A0-733F-0F7A-2F6670C98F52}"/>
            </ac:picMkLst>
          </pc:picChg>
          <pc:picChg chg="add del mod">
            <ac:chgData name="Lonneke Opsteegh" userId="ec2a11b1-c5a7-4109-83b7-7550d0e8e4d6" providerId="ADAL" clId="{F16F0611-EF83-4248-AE98-4DF2AC4DA88B}" dt="2023-02-14T15:04:14.650" v="1507" actId="478"/>
            <ac:picMkLst>
              <pc:docMk/>
              <pc:sldMasterMk cId="489246797" sldId="2147483648"/>
              <pc:sldLayoutMk cId="757479901" sldId="2147483660"/>
              <ac:picMk id="17" creationId="{04E35855-FF91-7A26-C2FB-00047BADA025}"/>
            </ac:picMkLst>
          </pc:picChg>
          <pc:picChg chg="add del mod">
            <ac:chgData name="Lonneke Opsteegh" userId="ec2a11b1-c5a7-4109-83b7-7550d0e8e4d6" providerId="ADAL" clId="{F16F0611-EF83-4248-AE98-4DF2AC4DA88B}" dt="2023-02-14T15:04:16.449" v="1510" actId="478"/>
            <ac:picMkLst>
              <pc:docMk/>
              <pc:sldMasterMk cId="489246797" sldId="2147483648"/>
              <pc:sldLayoutMk cId="757479901" sldId="2147483660"/>
              <ac:picMk id="18" creationId="{47BD8CB5-79FF-387C-3DEA-2A35868A3EE8}"/>
            </ac:picMkLst>
          </pc:picChg>
          <pc:picChg chg="add del mod">
            <ac:chgData name="Lonneke Opsteegh" userId="ec2a11b1-c5a7-4109-83b7-7550d0e8e4d6" providerId="ADAL" clId="{F16F0611-EF83-4248-AE98-4DF2AC4DA88B}" dt="2023-02-14T15:04:15.127" v="1508" actId="478"/>
            <ac:picMkLst>
              <pc:docMk/>
              <pc:sldMasterMk cId="489246797" sldId="2147483648"/>
              <pc:sldLayoutMk cId="757479901" sldId="2147483660"/>
              <ac:picMk id="19" creationId="{B730AAE4-5868-8AF1-8A5E-916605796685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2" creationId="{DD3F4386-568F-BC48-8C0D-109CF10BE845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3" creationId="{4B5CE3D2-AB42-062F-C874-479A001EDC84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4" creationId="{EE8BAF88-3C3A-7C1B-C553-D4F1A6D2BD2A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5" creationId="{512BF587-7136-21A3-74E8-63FC960FDE4F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6" creationId="{8939483D-DC7F-5633-360B-FE986BA59EFE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7" creationId="{2BB28AC3-141C-B058-64B7-4327B839B48E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8" creationId="{70FFAD99-94BC-BD83-D2C0-F1277DDAF5A4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9" creationId="{A8346E02-71F3-6E75-81BA-97D836DEDFAB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55.893" v="1546" actId="14100"/>
          <pc:sldLayoutMkLst>
            <pc:docMk/>
            <pc:sldMasterMk cId="489246797" sldId="2147483648"/>
            <pc:sldLayoutMk cId="3577707495" sldId="2147483661"/>
          </pc:sldLayoutMkLst>
          <pc:spChg chg="mod">
            <ac:chgData name="Lonneke Opsteegh" userId="ec2a11b1-c5a7-4109-83b7-7550d0e8e4d6" providerId="ADAL" clId="{F16F0611-EF83-4248-AE98-4DF2AC4DA88B}" dt="2023-02-14T15:06:55.893" v="1546" actId="14100"/>
            <ac:spMkLst>
              <pc:docMk/>
              <pc:sldMasterMk cId="489246797" sldId="2147483648"/>
              <pc:sldLayoutMk cId="3577707495" sldId="2147483661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55.893" v="1546" actId="14100"/>
            <ac:spMkLst>
              <pc:docMk/>
              <pc:sldMasterMk cId="489246797" sldId="2147483648"/>
              <pc:sldLayoutMk cId="3577707495" sldId="2147483661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19.710" v="1514" actId="478"/>
            <ac:spMkLst>
              <pc:docMk/>
              <pc:sldMasterMk cId="489246797" sldId="2147483648"/>
              <pc:sldLayoutMk cId="3577707495" sldId="2147483661"/>
              <ac:spMk id="8" creationId="{1891CC4F-50E8-BEA5-4C57-DE199E8E18E9}"/>
            </ac:spMkLst>
          </pc:spChg>
          <pc:spChg chg="mod">
            <ac:chgData name="Lonneke Opsteegh" userId="ec2a11b1-c5a7-4109-83b7-7550d0e8e4d6" providerId="ADAL" clId="{F16F0611-EF83-4248-AE98-4DF2AC4DA88B}" dt="2023-02-12T19:29:55.834" v="814" actId="207"/>
            <ac:spMkLst>
              <pc:docMk/>
              <pc:sldMasterMk cId="489246797" sldId="2147483648"/>
              <pc:sldLayoutMk cId="3577707495" sldId="2147483661"/>
              <ac:spMk id="21" creationId="{5461EAFC-F9FE-DCAC-137A-7CECCBBA70DA}"/>
            </ac:spMkLst>
          </pc:spChg>
          <pc:grpChg chg="add del mod">
            <ac:chgData name="Lonneke Opsteegh" userId="ec2a11b1-c5a7-4109-83b7-7550d0e8e4d6" providerId="ADAL" clId="{F16F0611-EF83-4248-AE98-4DF2AC4DA88B}" dt="2023-02-14T15:04:21.848" v="1521" actId="478"/>
            <ac:grpSpMkLst>
              <pc:docMk/>
              <pc:sldMasterMk cId="489246797" sldId="2147483648"/>
              <pc:sldLayoutMk cId="3577707495" sldId="2147483661"/>
              <ac:grpSpMk id="20" creationId="{41DCCFBF-CD90-BF6D-8327-A571B3E11687}"/>
            </ac:grpSpMkLst>
          </pc:grpChg>
          <pc:picChg chg="add del mod">
            <ac:chgData name="Lonneke Opsteegh" userId="ec2a11b1-c5a7-4109-83b7-7550d0e8e4d6" providerId="ADAL" clId="{F16F0611-EF83-4248-AE98-4DF2AC4DA88B}" dt="2023-02-14T15:04:20.218" v="1516" actId="478"/>
            <ac:picMkLst>
              <pc:docMk/>
              <pc:sldMasterMk cId="489246797" sldId="2147483648"/>
              <pc:sldLayoutMk cId="3577707495" sldId="2147483661"/>
              <ac:picMk id="9" creationId="{1DBCAAE9-152E-7972-B9F2-B8626BE6D75D}"/>
            </ac:picMkLst>
          </pc:picChg>
          <pc:picChg chg="add del mod">
            <ac:chgData name="Lonneke Opsteegh" userId="ec2a11b1-c5a7-4109-83b7-7550d0e8e4d6" providerId="ADAL" clId="{F16F0611-EF83-4248-AE98-4DF2AC4DA88B}" dt="2023-02-14T15:04:21.384" v="1520" actId="478"/>
            <ac:picMkLst>
              <pc:docMk/>
              <pc:sldMasterMk cId="489246797" sldId="2147483648"/>
              <pc:sldLayoutMk cId="3577707495" sldId="2147483661"/>
              <ac:picMk id="17" creationId="{905FF2B2-C1A0-E995-54BF-D4C89BBEE391}"/>
            </ac:picMkLst>
          </pc:picChg>
          <pc:picChg chg="add del mod">
            <ac:chgData name="Lonneke Opsteegh" userId="ec2a11b1-c5a7-4109-83b7-7550d0e8e4d6" providerId="ADAL" clId="{F16F0611-EF83-4248-AE98-4DF2AC4DA88B}" dt="2023-02-14T15:04:19.245" v="1513" actId="478"/>
            <ac:picMkLst>
              <pc:docMk/>
              <pc:sldMasterMk cId="489246797" sldId="2147483648"/>
              <pc:sldLayoutMk cId="3577707495" sldId="2147483661"/>
              <ac:picMk id="18" creationId="{FC929247-7405-3758-0119-4E407FA6A2C9}"/>
            </ac:picMkLst>
          </pc:picChg>
          <pc:picChg chg="add del mod">
            <ac:chgData name="Lonneke Opsteegh" userId="ec2a11b1-c5a7-4109-83b7-7550d0e8e4d6" providerId="ADAL" clId="{F16F0611-EF83-4248-AE98-4DF2AC4DA88B}" dt="2023-02-14T15:04:20.825" v="1518" actId="478"/>
            <ac:picMkLst>
              <pc:docMk/>
              <pc:sldMasterMk cId="489246797" sldId="2147483648"/>
              <pc:sldLayoutMk cId="3577707495" sldId="2147483661"/>
              <ac:picMk id="19" creationId="{F4304628-5C92-C308-06A7-5E29070742B4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2" creationId="{67947559-C058-EA04-15F5-23F68BE57E72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3" creationId="{AA7BD7EE-5EBA-4E49-3DBB-09E8F5DCCE4E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4" creationId="{DE2524AB-FDC4-F77A-B575-59C3CA6FA90E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5" creationId="{813B460B-AA75-9AFD-E642-4658D4ED0934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6" creationId="{4CEBF199-E061-65FC-398E-2F79731DE196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7" creationId="{817020BD-5799-BB6C-4E12-C639C98A9046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8" creationId="{8729901E-46BA-827C-1E73-E7A569FC694A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9" creationId="{84E01A7F-6DB8-2DD9-66DE-F9AEB1684D2C}"/>
            </ac:picMkLst>
          </pc:pic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svg"/><Relationship Id="rId39" Type="http://schemas.openxmlformats.org/officeDocument/2006/relationships/image" Target="../media/image40.png"/><Relationship Id="rId21" Type="http://schemas.openxmlformats.org/officeDocument/2006/relationships/image" Target="../media/image22.jpg"/><Relationship Id="rId34" Type="http://schemas.openxmlformats.org/officeDocument/2006/relationships/image" Target="../media/image35.sv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svg"/><Relationship Id="rId2" Type="http://schemas.openxmlformats.org/officeDocument/2006/relationships/image" Target="../media/image2.png"/><Relationship Id="rId16" Type="http://schemas.openxmlformats.org/officeDocument/2006/relationships/image" Target="../media/image17.png"/><Relationship Id="rId20" Type="http://schemas.openxmlformats.org/officeDocument/2006/relationships/image" Target="../media/image21.svg"/><Relationship Id="rId29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svg"/><Relationship Id="rId32" Type="http://schemas.openxmlformats.org/officeDocument/2006/relationships/image" Target="../media/image33.jp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23" Type="http://schemas.openxmlformats.org/officeDocument/2006/relationships/image" Target="../media/image24.png"/><Relationship Id="rId28" Type="http://schemas.openxmlformats.org/officeDocument/2006/relationships/image" Target="../media/image29.svg"/><Relationship Id="rId36" Type="http://schemas.openxmlformats.org/officeDocument/2006/relationships/image" Target="../media/image37.jp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svg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jpg"/><Relationship Id="rId35" Type="http://schemas.openxmlformats.org/officeDocument/2006/relationships/image" Target="../media/image36.png"/><Relationship Id="rId8" Type="http://schemas.openxmlformats.org/officeDocument/2006/relationships/image" Target="../media/image9.png"/><Relationship Id="rId3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svg"/><Relationship Id="rId39" Type="http://schemas.openxmlformats.org/officeDocument/2006/relationships/image" Target="../media/image40.png"/><Relationship Id="rId21" Type="http://schemas.openxmlformats.org/officeDocument/2006/relationships/image" Target="../media/image22.jpg"/><Relationship Id="rId34" Type="http://schemas.openxmlformats.org/officeDocument/2006/relationships/image" Target="../media/image35.sv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svg"/><Relationship Id="rId2" Type="http://schemas.openxmlformats.org/officeDocument/2006/relationships/image" Target="../media/image2.png"/><Relationship Id="rId16" Type="http://schemas.openxmlformats.org/officeDocument/2006/relationships/image" Target="../media/image17.png"/><Relationship Id="rId20" Type="http://schemas.openxmlformats.org/officeDocument/2006/relationships/image" Target="../media/image21.svg"/><Relationship Id="rId29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svg"/><Relationship Id="rId32" Type="http://schemas.openxmlformats.org/officeDocument/2006/relationships/image" Target="../media/image33.jp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23" Type="http://schemas.openxmlformats.org/officeDocument/2006/relationships/image" Target="../media/image24.png"/><Relationship Id="rId28" Type="http://schemas.openxmlformats.org/officeDocument/2006/relationships/image" Target="../media/image29.svg"/><Relationship Id="rId36" Type="http://schemas.openxmlformats.org/officeDocument/2006/relationships/image" Target="../media/image37.jp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svg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jpg"/><Relationship Id="rId35" Type="http://schemas.openxmlformats.org/officeDocument/2006/relationships/image" Target="../media/image36.png"/><Relationship Id="rId8" Type="http://schemas.openxmlformats.org/officeDocument/2006/relationships/image" Target="../media/image9.png"/><Relationship Id="rId3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8499B9C8-992B-3DA1-9046-03D7E6C97E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129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3AC42-3BFD-9A48-8DDC-EA7942C00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C55C7B6-2D12-8F16-6EED-9FFC8CE9BB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3A90214-2C55-53AC-6BBE-03A469FE49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E734613-6ECD-90D1-DC59-E411E7E06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2BDCCA70-2A63-C7E8-5FDF-996FEB62D5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5235A2E7-3088-3A2D-888A-9977937F7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80629A2-E56E-4042-BECF-886848785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B42866AF-5934-0CD0-D42D-2FABAEF53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72E609B6-D04B-9CE0-D55E-81BFADCDFCA4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C0C1AF43-3F3B-89A7-55CD-AFB903B03EE9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E5CFD252-1A96-AB80-B6AD-1F7CE5C3A35E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A627982A-3DED-AEAC-899A-80BB3655FE8E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597E914-76B6-5755-8E93-FC7C544FAC7F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A0C01C63-8452-F3CD-79D5-9628D0593A45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5C4776A3-FA4E-9305-4CF3-1FCCE29F6574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E593CA94-568D-1AD6-5409-C84DE67521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063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1A5494-8524-2C93-48DA-E9BF05ECB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D3FDBBC-E36B-A6AA-4CC9-3EB093F85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1B818F0-AD7E-5773-8B28-E07F4F0E6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9D73592-1E35-6F06-E4B7-EF619284E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A0493113-551F-B653-AE90-35F7B8E62753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9F71244-8382-E55A-25D5-DAE85A8F2AEB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88F8C739-B777-5306-D065-60E0159B6D6F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0091DFB-DE96-4EE0-C678-6AF95280205F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86BFB85-B945-F7F7-B4A4-FD7F9EC52078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C401921-D1CB-AAA0-98A0-CC16DAB601B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5DC2F9BB-941F-46DF-5042-4FBF120EAC52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47A26244-3833-2848-3184-6A637087E5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402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554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B15CC3D-A606-9A28-FED2-2CFA86DCD9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7559" y="829545"/>
            <a:ext cx="2367950" cy="87919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8DBF57D9-3BB4-B5CB-13C7-E035A21A86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1459" y="1119999"/>
            <a:ext cx="3214870" cy="602788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ABBCE7CD-45B5-D0F9-90D6-7C9E7E55F6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50" y="784152"/>
            <a:ext cx="2504821" cy="969977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490E102A-6B37-2E52-5533-59DA049DF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22" t="21082" r="10376" b="28531"/>
          <a:stretch/>
        </p:blipFill>
        <p:spPr>
          <a:xfrm>
            <a:off x="6048297" y="820587"/>
            <a:ext cx="2170373" cy="897107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A054E8EA-E709-613A-B2D8-6ED1FBF7544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50334" y="3227336"/>
            <a:ext cx="2129166" cy="35108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C251BC3-2BB5-1039-A172-1A22B1003D8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9950" y="2280523"/>
            <a:ext cx="2073633" cy="72828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CA85889-C099-E75F-72AA-181C8BBDEC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406" t="4682" r="5721" b="-4682"/>
          <a:stretch/>
        </p:blipFill>
        <p:spPr>
          <a:xfrm>
            <a:off x="9344659" y="2075898"/>
            <a:ext cx="2551707" cy="101602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43EFAD9-377C-B668-EE96-E9AA8D5233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26065" b="27381"/>
          <a:stretch/>
        </p:blipFill>
        <p:spPr>
          <a:xfrm>
            <a:off x="3315342" y="2027258"/>
            <a:ext cx="2367950" cy="72897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7A03652-0A3B-7766-31BC-A26AFF3A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849" t="31550" r="12060" b="29156"/>
          <a:stretch/>
        </p:blipFill>
        <p:spPr>
          <a:xfrm>
            <a:off x="9767200" y="2900749"/>
            <a:ext cx="2129166" cy="1019154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6E2F056C-031D-A514-7238-F08F39F47E4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051" y="2326514"/>
            <a:ext cx="2237850" cy="636321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446CA01-7B21-C2D8-70C5-DA044E11A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21770" b="18760"/>
          <a:stretch/>
        </p:blipFill>
        <p:spPr>
          <a:xfrm>
            <a:off x="364574" y="3169061"/>
            <a:ext cx="2467348" cy="563082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5A428C06-0A9D-11EA-BF8C-64B77778152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94" y="4817084"/>
            <a:ext cx="1772923" cy="500553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E53A814B-344E-8BF6-87CB-FC5AC5F90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2" b="30254"/>
          <a:stretch/>
        </p:blipFill>
        <p:spPr>
          <a:xfrm>
            <a:off x="7641541" y="4752353"/>
            <a:ext cx="2138585" cy="630014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621666D-F7B6-233C-A5DF-68F47806D240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999563" y="4738867"/>
            <a:ext cx="2067693" cy="65698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B0A411CD-1928-FB67-EB0B-E44248A497B5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9950" y="4013317"/>
            <a:ext cx="1650907" cy="57093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B8AF58F-9250-F4D6-75F0-1B1E04059805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756885" y="4064388"/>
            <a:ext cx="1907897" cy="468797"/>
          </a:xfrm>
          <a:prstGeom prst="rect">
            <a:avLst/>
          </a:prstGeom>
        </p:spPr>
      </p:pic>
      <p:pic>
        <p:nvPicPr>
          <p:cNvPr id="29" name="Afbeelding 28" descr="Afbeelding met tekst, teken&#10;&#10;Automatisch gegenereerde beschrijving">
            <a:extLst>
              <a:ext uri="{FF2B5EF4-FFF2-40B4-BE49-F238E27FC236}">
                <a16:creationId xmlns:a16="http://schemas.microsoft.com/office/drawing/2014/main" id="{A208C5DC-FFF4-E6CE-00BA-1BDDB5E13722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563" y="3946479"/>
            <a:ext cx="1690071" cy="704614"/>
          </a:xfrm>
          <a:prstGeom prst="rect">
            <a:avLst/>
          </a:prstGeom>
        </p:spPr>
      </p:pic>
      <p:pic>
        <p:nvPicPr>
          <p:cNvPr id="30" name="Afbeelding 29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5205A613-4C57-9201-F3DF-91B83DACE433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295" y="3978262"/>
            <a:ext cx="1812279" cy="605994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4D6187C2-EB2C-FD57-2C9B-08D3496A6298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67" y="4751876"/>
            <a:ext cx="1261935" cy="630968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EAB7215C-8B03-2F6E-687F-44A36F7EDDE6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018" y="5814558"/>
            <a:ext cx="1332348" cy="499631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8D3E332-6186-8137-D94F-5CCA7759ED04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906046" y="5801011"/>
            <a:ext cx="1609574" cy="526725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EE4B188D-3B01-C3B3-678C-2CE8BAC98D0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654" y="5715271"/>
            <a:ext cx="1505561" cy="698204"/>
          </a:xfrm>
          <a:prstGeom prst="rect">
            <a:avLst/>
          </a:prstGeom>
        </p:spPr>
      </p:pic>
      <p:pic>
        <p:nvPicPr>
          <p:cNvPr id="35" name="Afbeelding 3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000E3ECB-B811-7AD6-BA7B-00D581B601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922" y="5697086"/>
            <a:ext cx="2119130" cy="73457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8CBA419-D01C-5A06-E7C9-E3091DCAB6B2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29950" y="5810719"/>
            <a:ext cx="1870039" cy="507309"/>
          </a:xfrm>
          <a:prstGeom prst="rect">
            <a:avLst/>
          </a:prstGeom>
        </p:spPr>
      </p:pic>
      <p:cxnSp>
        <p:nvCxnSpPr>
          <p:cNvPr id="37" name="Rechte verbindingslijn 36">
            <a:extLst>
              <a:ext uri="{FF2B5EF4-FFF2-40B4-BE49-F238E27FC236}">
                <a16:creationId xmlns:a16="http://schemas.microsoft.com/office/drawing/2014/main" id="{155BF058-CED0-1AFD-E96E-99B8B7EEBEAD}"/>
              </a:ext>
            </a:extLst>
          </p:cNvPr>
          <p:cNvCxnSpPr>
            <a:cxnSpLocks/>
          </p:cNvCxnSpPr>
          <p:nvPr userDrawn="1"/>
        </p:nvCxnSpPr>
        <p:spPr>
          <a:xfrm>
            <a:off x="0" y="5436606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20490058-DAFB-6BE2-017B-FEAAE909E86F}"/>
              </a:ext>
            </a:extLst>
          </p:cNvPr>
          <p:cNvCxnSpPr/>
          <p:nvPr userDrawn="1"/>
        </p:nvCxnSpPr>
        <p:spPr>
          <a:xfrm>
            <a:off x="0" y="3812090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38">
            <a:extLst>
              <a:ext uri="{FF2B5EF4-FFF2-40B4-BE49-F238E27FC236}">
                <a16:creationId xmlns:a16="http://schemas.microsoft.com/office/drawing/2014/main" id="{D93ED777-73ED-DA4F-07F8-871D63EC2FD1}"/>
              </a:ext>
            </a:extLst>
          </p:cNvPr>
          <p:cNvCxnSpPr/>
          <p:nvPr userDrawn="1"/>
        </p:nvCxnSpPr>
        <p:spPr>
          <a:xfrm>
            <a:off x="0" y="2049108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vak 39">
            <a:extLst>
              <a:ext uri="{FF2B5EF4-FFF2-40B4-BE49-F238E27FC236}">
                <a16:creationId xmlns:a16="http://schemas.microsoft.com/office/drawing/2014/main" id="{42886A9B-79B9-24B6-6EE9-A490D8886407}"/>
              </a:ext>
            </a:extLst>
          </p:cNvPr>
          <p:cNvSpPr txBox="1"/>
          <p:nvPr userDrawn="1"/>
        </p:nvSpPr>
        <p:spPr>
          <a:xfrm rot="16200000">
            <a:off x="-479565" y="1131717"/>
            <a:ext cx="1465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PLATINUM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4312FBA6-EF7A-0DC7-8FBE-4CB0CD253414}"/>
              </a:ext>
            </a:extLst>
          </p:cNvPr>
          <p:cNvSpPr txBox="1"/>
          <p:nvPr userDrawn="1"/>
        </p:nvSpPr>
        <p:spPr>
          <a:xfrm rot="16200000">
            <a:off x="-622407" y="2751859"/>
            <a:ext cx="1751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GOUD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2" name="Tekstvak 41">
            <a:extLst>
              <a:ext uri="{FF2B5EF4-FFF2-40B4-BE49-F238E27FC236}">
                <a16:creationId xmlns:a16="http://schemas.microsoft.com/office/drawing/2014/main" id="{2450D961-747E-208D-1D7B-DB2DF99A39E5}"/>
              </a:ext>
            </a:extLst>
          </p:cNvPr>
          <p:cNvSpPr txBox="1"/>
          <p:nvPr userDrawn="1"/>
        </p:nvSpPr>
        <p:spPr>
          <a:xfrm rot="16200000">
            <a:off x="-559101" y="4439682"/>
            <a:ext cx="16245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ZILVER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F7EEA52D-5CD9-4B44-4555-AECF0D1F4E4A}"/>
              </a:ext>
            </a:extLst>
          </p:cNvPr>
          <p:cNvSpPr txBox="1"/>
          <p:nvPr userDrawn="1"/>
        </p:nvSpPr>
        <p:spPr>
          <a:xfrm rot="16200000">
            <a:off x="-321892" y="5862348"/>
            <a:ext cx="1150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OMMUNITY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4" name="Tekstvak 43">
            <a:extLst>
              <a:ext uri="{FF2B5EF4-FFF2-40B4-BE49-F238E27FC236}">
                <a16:creationId xmlns:a16="http://schemas.microsoft.com/office/drawing/2014/main" id="{162B4A89-3A68-37CA-A8A3-A5D47182208C}"/>
              </a:ext>
            </a:extLst>
          </p:cNvPr>
          <p:cNvSpPr txBox="1"/>
          <p:nvPr userDrawn="1"/>
        </p:nvSpPr>
        <p:spPr>
          <a:xfrm>
            <a:off x="529949" y="273520"/>
            <a:ext cx="9781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>
                <a:solidFill>
                  <a:schemeClr val="accent1"/>
                </a:solidFill>
                <a:latin typeface="+mj-lt"/>
              </a:rPr>
              <a:t>De Power BI Gebruikersdagen worden mede mogelijk gemaakt door: </a:t>
            </a:r>
            <a:endParaRPr lang="en-GB" sz="2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45" name="Picture 2" descr="Logo&#10;&#10;Description automatically generated">
            <a:extLst>
              <a:ext uri="{FF2B5EF4-FFF2-40B4-BE49-F238E27FC236}">
                <a16:creationId xmlns:a16="http://schemas.microsoft.com/office/drawing/2014/main" id="{974554CF-6ED3-4C02-C31A-06CA692E28AE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3127717" y="2723068"/>
            <a:ext cx="2743200" cy="1015206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537A0058-5ACD-35B5-CAB6-ABACB0F64F41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620" y="4018195"/>
            <a:ext cx="1560746" cy="54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32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8499B9C8-992B-3DA1-9046-03D7E6C97E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7402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8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8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8" name="Afbeelding 7">
            <a:extLst>
              <a:ext uri="{FF2B5EF4-FFF2-40B4-BE49-F238E27FC236}">
                <a16:creationId xmlns:a16="http://schemas.microsoft.com/office/drawing/2014/main" id="{65EE5FF1-D5D9-808C-5EFB-FA480108DF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055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7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el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740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90308" y="6407252"/>
            <a:ext cx="2743200" cy="365125"/>
          </a:xfrm>
        </p:spPr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52D2B4BC-274C-3954-EA12-F813B8ECE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925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0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F1ADC3A0-064B-5682-B96A-A8FFC520A6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408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0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di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4F82B8CE-9EC6-784E-6559-D4D6A5C10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608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0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eldi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DD3E4BC8-95F7-B5B2-FEA9-35FFD198B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45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0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8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8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8" name="Afbeelding 7">
            <a:extLst>
              <a:ext uri="{FF2B5EF4-FFF2-40B4-BE49-F238E27FC236}">
                <a16:creationId xmlns:a16="http://schemas.microsoft.com/office/drawing/2014/main" id="{65EE5FF1-D5D9-808C-5EFB-FA480108DF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6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72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eldi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B867C4A2-4C1E-F3B1-E5BC-6D8870A4D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826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0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ECEEFF-40FE-8920-2ED5-6F0E5B50A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31E6352-5E2F-ABEB-F331-8C49249DF7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D570968-6530-FC97-EBDE-C8C11ABD9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98C2E96-CA06-098E-5823-FB8BF2C35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57E08EA-0B33-CB66-9383-947173483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F133F1FE-08DD-E2F9-85C7-51E69B42D7A7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1D118310-8FB2-D493-7922-DDB85CD0899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EF7F0B93-98B8-F896-61D4-13681D3C1D53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200D68CD-FD30-7945-BCBA-A388734EE238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3C4999F-D885-A23E-CAF4-E5A098BC9C17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4B4FA667-E9EE-0862-727B-65E7A7F98B6B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11157D7C-AECF-1FDD-E114-67C53DB6CB2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BEEADEB-3665-1132-1063-ABC903DB3B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C10AC7-87C4-2061-E688-6A650D392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C94E05D-E781-D1CC-7B0D-B16BD241A6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1DBC273-3286-8F11-A219-EBEC836B7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871FA1C-DA16-E58E-1CE5-966575C16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34572DA-0C0D-ED0C-706E-D4C657FB6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3FF21103-A9FA-6AB5-2EEA-B9796ADA3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E088AD72-DFF4-7296-6D06-91449521F0BE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9F53865-7BB2-2FD5-EB91-011F842A5B44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3FFBD7EA-9BBA-83AF-7535-F7CE213D89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3E3C1094-85A5-98B1-DD56-B629D67CFA93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32C6A5D2-6A9F-7E19-0D2D-4A773D458221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590F2FD0-3DB7-E5B7-73F0-E7B9547FF5A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FFF662A-9155-11EA-61C7-1341DB4BEFDC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E3FAF074-B740-5FEB-3DC3-109A97D4D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8718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3AC42-3BFD-9A48-8DDC-EA7942C00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C55C7B6-2D12-8F16-6EED-9FFC8CE9BB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3A90214-2C55-53AC-6BBE-03A469FE49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E734613-6ECD-90D1-DC59-E411E7E06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2BDCCA70-2A63-C7E8-5FDF-996FEB62D5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5235A2E7-3088-3A2D-888A-9977937F7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80629A2-E56E-4042-BECF-886848785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B42866AF-5934-0CD0-D42D-2FABAEF53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72E609B6-D04B-9CE0-D55E-81BFADCDFCA4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C0C1AF43-3F3B-89A7-55CD-AFB903B03EE9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E5CFD252-1A96-AB80-B6AD-1F7CE5C3A35E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A627982A-3DED-AEAC-899A-80BB3655FE8E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597E914-76B6-5755-8E93-FC7C544FAC7F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A0C01C63-8452-F3CD-79D5-9628D0593A45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5C4776A3-FA4E-9305-4CF3-1FCCE29F6574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E593CA94-568D-1AD6-5409-C84DE67521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8145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1A5494-8524-2C93-48DA-E9BF05ECB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D3FDBBC-E36B-A6AA-4CC9-3EB093F85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1B818F0-AD7E-5773-8B28-E07F4F0E6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9D73592-1E35-6F06-E4B7-EF619284E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A0493113-551F-B653-AE90-35F7B8E62753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9F71244-8382-E55A-25D5-DAE85A8F2AEB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88F8C739-B777-5306-D065-60E0159B6D6F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0091DFB-DE96-4EE0-C678-6AF95280205F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86BFB85-B945-F7F7-B4A4-FD7F9EC52078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C401921-D1CB-AAA0-98A0-CC16DAB601B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5DC2F9BB-941F-46DF-5042-4FBF120EAC52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47A26244-3833-2848-3184-6A637087E5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1319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530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B15CC3D-A606-9A28-FED2-2CFA86DCD9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7559" y="829545"/>
            <a:ext cx="2367950" cy="87919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8DBF57D9-3BB4-B5CB-13C7-E035A21A86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1459" y="1119999"/>
            <a:ext cx="3214870" cy="602788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ABBCE7CD-45B5-D0F9-90D6-7C9E7E55F6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50" y="784152"/>
            <a:ext cx="2504821" cy="969977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490E102A-6B37-2E52-5533-59DA049DF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22" t="21082" r="10376" b="28531"/>
          <a:stretch/>
        </p:blipFill>
        <p:spPr>
          <a:xfrm>
            <a:off x="6048297" y="820587"/>
            <a:ext cx="2170373" cy="897107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A054E8EA-E709-613A-B2D8-6ED1FBF7544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50334" y="3227336"/>
            <a:ext cx="2129166" cy="35108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C251BC3-2BB5-1039-A172-1A22B1003D8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9950" y="2280523"/>
            <a:ext cx="2073633" cy="72828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CA85889-C099-E75F-72AA-181C8BBDEC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406" t="4682" r="5721" b="-4682"/>
          <a:stretch/>
        </p:blipFill>
        <p:spPr>
          <a:xfrm>
            <a:off x="9344659" y="2075898"/>
            <a:ext cx="2551707" cy="101602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43EFAD9-377C-B668-EE96-E9AA8D5233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26065" b="27381"/>
          <a:stretch/>
        </p:blipFill>
        <p:spPr>
          <a:xfrm>
            <a:off x="3315342" y="2027258"/>
            <a:ext cx="2367950" cy="72897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7A03652-0A3B-7766-31BC-A26AFF3A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849" t="31550" r="12060" b="29156"/>
          <a:stretch/>
        </p:blipFill>
        <p:spPr>
          <a:xfrm>
            <a:off x="9767200" y="2900749"/>
            <a:ext cx="2129166" cy="1019154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6E2F056C-031D-A514-7238-F08F39F47E4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051" y="2326514"/>
            <a:ext cx="2237850" cy="636321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446CA01-7B21-C2D8-70C5-DA044E11A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21770" b="18760"/>
          <a:stretch/>
        </p:blipFill>
        <p:spPr>
          <a:xfrm>
            <a:off x="364574" y="3169061"/>
            <a:ext cx="2467348" cy="563082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5A428C06-0A9D-11EA-BF8C-64B77778152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94" y="4817084"/>
            <a:ext cx="1772923" cy="500553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E53A814B-344E-8BF6-87CB-FC5AC5F90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2" b="30254"/>
          <a:stretch/>
        </p:blipFill>
        <p:spPr>
          <a:xfrm>
            <a:off x="7641541" y="4752353"/>
            <a:ext cx="2138585" cy="630014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621666D-F7B6-233C-A5DF-68F47806D240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999563" y="4738867"/>
            <a:ext cx="2067693" cy="65698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B0A411CD-1928-FB67-EB0B-E44248A497B5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9950" y="4013317"/>
            <a:ext cx="1650907" cy="57093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B8AF58F-9250-F4D6-75F0-1B1E04059805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756885" y="4064388"/>
            <a:ext cx="1907897" cy="468797"/>
          </a:xfrm>
          <a:prstGeom prst="rect">
            <a:avLst/>
          </a:prstGeom>
        </p:spPr>
      </p:pic>
      <p:pic>
        <p:nvPicPr>
          <p:cNvPr id="29" name="Afbeelding 28" descr="Afbeelding met tekst, teken&#10;&#10;Automatisch gegenereerde beschrijving">
            <a:extLst>
              <a:ext uri="{FF2B5EF4-FFF2-40B4-BE49-F238E27FC236}">
                <a16:creationId xmlns:a16="http://schemas.microsoft.com/office/drawing/2014/main" id="{A208C5DC-FFF4-E6CE-00BA-1BDDB5E13722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563" y="3946479"/>
            <a:ext cx="1690071" cy="704614"/>
          </a:xfrm>
          <a:prstGeom prst="rect">
            <a:avLst/>
          </a:prstGeom>
        </p:spPr>
      </p:pic>
      <p:pic>
        <p:nvPicPr>
          <p:cNvPr id="30" name="Afbeelding 29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5205A613-4C57-9201-F3DF-91B83DACE433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295" y="3978262"/>
            <a:ext cx="1812279" cy="605994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4D6187C2-EB2C-FD57-2C9B-08D3496A6298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67" y="4751876"/>
            <a:ext cx="1261935" cy="630968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EAB7215C-8B03-2F6E-687F-44A36F7EDDE6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018" y="5814558"/>
            <a:ext cx="1332348" cy="499631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8D3E332-6186-8137-D94F-5CCA7759ED04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906046" y="5801011"/>
            <a:ext cx="1609574" cy="526725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EE4B188D-3B01-C3B3-678C-2CE8BAC98D0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654" y="5715271"/>
            <a:ext cx="1505561" cy="698204"/>
          </a:xfrm>
          <a:prstGeom prst="rect">
            <a:avLst/>
          </a:prstGeom>
        </p:spPr>
      </p:pic>
      <p:pic>
        <p:nvPicPr>
          <p:cNvPr id="35" name="Afbeelding 3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000E3ECB-B811-7AD6-BA7B-00D581B601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922" y="5697086"/>
            <a:ext cx="2119130" cy="73457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8CBA419-D01C-5A06-E7C9-E3091DCAB6B2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29950" y="5810719"/>
            <a:ext cx="1870039" cy="507309"/>
          </a:xfrm>
          <a:prstGeom prst="rect">
            <a:avLst/>
          </a:prstGeom>
        </p:spPr>
      </p:pic>
      <p:cxnSp>
        <p:nvCxnSpPr>
          <p:cNvPr id="37" name="Rechte verbindingslijn 36">
            <a:extLst>
              <a:ext uri="{FF2B5EF4-FFF2-40B4-BE49-F238E27FC236}">
                <a16:creationId xmlns:a16="http://schemas.microsoft.com/office/drawing/2014/main" id="{155BF058-CED0-1AFD-E96E-99B8B7EEBEAD}"/>
              </a:ext>
            </a:extLst>
          </p:cNvPr>
          <p:cNvCxnSpPr>
            <a:cxnSpLocks/>
          </p:cNvCxnSpPr>
          <p:nvPr userDrawn="1"/>
        </p:nvCxnSpPr>
        <p:spPr>
          <a:xfrm>
            <a:off x="0" y="5436606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20490058-DAFB-6BE2-017B-FEAAE909E86F}"/>
              </a:ext>
            </a:extLst>
          </p:cNvPr>
          <p:cNvCxnSpPr/>
          <p:nvPr userDrawn="1"/>
        </p:nvCxnSpPr>
        <p:spPr>
          <a:xfrm>
            <a:off x="0" y="3812090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38">
            <a:extLst>
              <a:ext uri="{FF2B5EF4-FFF2-40B4-BE49-F238E27FC236}">
                <a16:creationId xmlns:a16="http://schemas.microsoft.com/office/drawing/2014/main" id="{D93ED777-73ED-DA4F-07F8-871D63EC2FD1}"/>
              </a:ext>
            </a:extLst>
          </p:cNvPr>
          <p:cNvCxnSpPr/>
          <p:nvPr userDrawn="1"/>
        </p:nvCxnSpPr>
        <p:spPr>
          <a:xfrm>
            <a:off x="0" y="2049108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vak 39">
            <a:extLst>
              <a:ext uri="{FF2B5EF4-FFF2-40B4-BE49-F238E27FC236}">
                <a16:creationId xmlns:a16="http://schemas.microsoft.com/office/drawing/2014/main" id="{42886A9B-79B9-24B6-6EE9-A490D8886407}"/>
              </a:ext>
            </a:extLst>
          </p:cNvPr>
          <p:cNvSpPr txBox="1"/>
          <p:nvPr userDrawn="1"/>
        </p:nvSpPr>
        <p:spPr>
          <a:xfrm rot="16200000">
            <a:off x="-479565" y="1131717"/>
            <a:ext cx="1465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PLATINUM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4312FBA6-EF7A-0DC7-8FBE-4CB0CD253414}"/>
              </a:ext>
            </a:extLst>
          </p:cNvPr>
          <p:cNvSpPr txBox="1"/>
          <p:nvPr userDrawn="1"/>
        </p:nvSpPr>
        <p:spPr>
          <a:xfrm rot="16200000">
            <a:off x="-622407" y="2751859"/>
            <a:ext cx="1751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GOUD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2" name="Tekstvak 41">
            <a:extLst>
              <a:ext uri="{FF2B5EF4-FFF2-40B4-BE49-F238E27FC236}">
                <a16:creationId xmlns:a16="http://schemas.microsoft.com/office/drawing/2014/main" id="{2450D961-747E-208D-1D7B-DB2DF99A39E5}"/>
              </a:ext>
            </a:extLst>
          </p:cNvPr>
          <p:cNvSpPr txBox="1"/>
          <p:nvPr userDrawn="1"/>
        </p:nvSpPr>
        <p:spPr>
          <a:xfrm rot="16200000">
            <a:off x="-559101" y="4439682"/>
            <a:ext cx="16245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ZILVER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F7EEA52D-5CD9-4B44-4555-AECF0D1F4E4A}"/>
              </a:ext>
            </a:extLst>
          </p:cNvPr>
          <p:cNvSpPr txBox="1"/>
          <p:nvPr userDrawn="1"/>
        </p:nvSpPr>
        <p:spPr>
          <a:xfrm rot="16200000">
            <a:off x="-321892" y="5862348"/>
            <a:ext cx="1150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OMMUNITY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4" name="Tekstvak 43">
            <a:extLst>
              <a:ext uri="{FF2B5EF4-FFF2-40B4-BE49-F238E27FC236}">
                <a16:creationId xmlns:a16="http://schemas.microsoft.com/office/drawing/2014/main" id="{162B4A89-3A68-37CA-A8A3-A5D47182208C}"/>
              </a:ext>
            </a:extLst>
          </p:cNvPr>
          <p:cNvSpPr txBox="1"/>
          <p:nvPr userDrawn="1"/>
        </p:nvSpPr>
        <p:spPr>
          <a:xfrm>
            <a:off x="529949" y="273520"/>
            <a:ext cx="9781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>
                <a:solidFill>
                  <a:schemeClr val="accent1"/>
                </a:solidFill>
                <a:latin typeface="+mj-lt"/>
              </a:rPr>
              <a:t>De Power BI Gebruikersdagen worden mede mogelijk gemaakt door: </a:t>
            </a:r>
            <a:endParaRPr lang="en-GB" sz="2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45" name="Picture 2" descr="Logo&#10;&#10;Description automatically generated">
            <a:extLst>
              <a:ext uri="{FF2B5EF4-FFF2-40B4-BE49-F238E27FC236}">
                <a16:creationId xmlns:a16="http://schemas.microsoft.com/office/drawing/2014/main" id="{974554CF-6ED3-4C02-C31A-06CA692E28AE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3127717" y="2723068"/>
            <a:ext cx="2743200" cy="1015206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537A0058-5ACD-35B5-CAB6-ABACB0F64F41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620" y="4018195"/>
            <a:ext cx="1560746" cy="54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736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el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740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90308" y="6407252"/>
            <a:ext cx="2743200" cy="365125"/>
          </a:xfrm>
        </p:spPr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52D2B4BC-274C-3954-EA12-F813B8ECE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537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F1ADC3A0-064B-5682-B96A-A8FFC520A6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893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di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4F82B8CE-9EC6-784E-6559-D4D6A5C10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31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eldi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DD3E4BC8-95F7-B5B2-FEA9-35FFD198B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479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eldi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B867C4A2-4C1E-F3B1-E5BC-6D8870A4D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07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ECEEFF-40FE-8920-2ED5-6F0E5B50A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31E6352-5E2F-ABEB-F331-8C49249DF7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D570968-6530-FC97-EBDE-C8C11ABD9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98C2E96-CA06-098E-5823-FB8BF2C35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57E08EA-0B33-CB66-9383-947173483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F133F1FE-08DD-E2F9-85C7-51E69B42D7A7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1D118310-8FB2-D493-7922-DDB85CD0899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EF7F0B93-98B8-F896-61D4-13681D3C1D53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200D68CD-FD30-7945-BCBA-A388734EE238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3C4999F-D885-A23E-CAF4-E5A098BC9C17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4B4FA667-E9EE-0862-727B-65E7A7F98B6B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11157D7C-AECF-1FDD-E114-67C53DB6CB2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BEEADEB-3665-1132-1063-ABC903DB3B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196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C10AC7-87C4-2061-E688-6A650D392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C94E05D-E781-D1CC-7B0D-B16BD241A6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1DBC273-3286-8F11-A219-EBEC836B7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871FA1C-DA16-E58E-1CE5-966575C16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34572DA-0C0D-ED0C-706E-D4C657FB6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3FF21103-A9FA-6AB5-2EEA-B9796ADA3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E088AD72-DFF4-7296-6D06-91449521F0BE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9F53865-7BB2-2FD5-EB91-011F842A5B44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3FFBD7EA-9BBA-83AF-7535-F7CE213D89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3E3C1094-85A5-98B1-DD56-B629D67CFA93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32C6A5D2-6A9F-7E19-0D2D-4A773D458221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590F2FD0-3DB7-E5B7-73F0-E7B9547FF5A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FFF662A-9155-11EA-61C7-1341DB4BEFDC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E3FAF074-B740-5FEB-3DC3-109A97D4D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9C808C-1099-2B58-0FCC-BE7EC7FE9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42107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5" progId="TCLayout.ActiveDocument.1">
                  <p:embed/>
                </p:oleObj>
              </mc:Choice>
              <mc:Fallback>
                <p:oleObj name="think-cell Slide" r:id="rId1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C808C-1099-2B58-0FCC-BE7EC7FE9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05EAE9A-804E-34D7-4C5B-C7A082CE1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60B0F71-BC42-56D2-E4AA-F0A450A8C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28E223F-B356-696C-3276-AEFB88CDF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055172-E1F6-5980-EE63-1533ED2B6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20D5524-A2A2-B381-80E5-415D2967B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924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2" r:id="rId9"/>
    <p:sldLayoutId id="2147483653" r:id="rId10"/>
    <p:sldLayoutId id="2147483654" r:id="rId11"/>
    <p:sldLayoutId id="2147483655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38F6639-99BA-8D06-3BD0-9EC892B3BF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9981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5" progId="TCLayout.ActiveDocument.1">
                  <p:embed/>
                </p:oleObj>
              </mc:Choice>
              <mc:Fallback>
                <p:oleObj name="think-cell Slide" r:id="rId1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8F6639-99BA-8D06-3BD0-9EC892B3B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05EAE9A-804E-34D7-4C5B-C7A082CE1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60B0F71-BC42-56D2-E4AA-F0A450A8C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28E223F-B356-696C-3276-AEFB88CDF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F62D7-B557-4C8E-9A83-AE8C6E6C9F49}" type="datetimeFigureOut">
              <a:rPr lang="nl-NL" smtClean="0"/>
              <a:t>8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055172-E1F6-5980-EE63-1533ED2B6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20D5524-A2A2-B381-80E5-415D2967B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886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8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10" Type="http://schemas.openxmlformats.org/officeDocument/2006/relationships/image" Target="../media/image82.svg"/><Relationship Id="rId4" Type="http://schemas.openxmlformats.org/officeDocument/2006/relationships/image" Target="../media/image1.emf"/><Relationship Id="rId9" Type="http://schemas.openxmlformats.org/officeDocument/2006/relationships/image" Target="../media/image8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0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png"/><Relationship Id="rId18" Type="http://schemas.openxmlformats.org/officeDocument/2006/relationships/image" Target="../media/image52.png"/><Relationship Id="rId26" Type="http://schemas.openxmlformats.org/officeDocument/2006/relationships/image" Target="../media/image55.png"/><Relationship Id="rId39" Type="http://schemas.openxmlformats.org/officeDocument/2006/relationships/image" Target="../media/image36.png"/><Relationship Id="rId21" Type="http://schemas.openxmlformats.org/officeDocument/2006/relationships/image" Target="../media/image41.png"/><Relationship Id="rId34" Type="http://schemas.openxmlformats.org/officeDocument/2006/relationships/image" Target="../media/image61.jpg"/><Relationship Id="rId42" Type="http://schemas.openxmlformats.org/officeDocument/2006/relationships/image" Target="../media/image29.svg"/><Relationship Id="rId7" Type="http://schemas.openxmlformats.org/officeDocument/2006/relationships/image" Target="../media/image47.svg"/><Relationship Id="rId2" Type="http://schemas.openxmlformats.org/officeDocument/2006/relationships/image" Target="../media/image20.pn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16.sv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png"/><Relationship Id="rId11" Type="http://schemas.openxmlformats.org/officeDocument/2006/relationships/image" Target="../media/image13.png"/><Relationship Id="rId24" Type="http://schemas.openxmlformats.org/officeDocument/2006/relationships/image" Target="../media/image23.png"/><Relationship Id="rId32" Type="http://schemas.openxmlformats.org/officeDocument/2006/relationships/image" Target="../media/image59.png"/><Relationship Id="rId37" Type="http://schemas.openxmlformats.org/officeDocument/2006/relationships/image" Target="../media/image35.svg"/><Relationship Id="rId40" Type="http://schemas.openxmlformats.org/officeDocument/2006/relationships/image" Target="../media/image6.png"/><Relationship Id="rId5" Type="http://schemas.openxmlformats.org/officeDocument/2006/relationships/image" Target="../media/image45.svg"/><Relationship Id="rId15" Type="http://schemas.openxmlformats.org/officeDocument/2006/relationships/image" Target="../media/image18.svg"/><Relationship Id="rId23" Type="http://schemas.openxmlformats.org/officeDocument/2006/relationships/image" Target="../media/image25.svg"/><Relationship Id="rId28" Type="http://schemas.openxmlformats.org/officeDocument/2006/relationships/image" Target="../media/image15.png"/><Relationship Id="rId36" Type="http://schemas.openxmlformats.org/officeDocument/2006/relationships/image" Target="../media/image34.png"/><Relationship Id="rId10" Type="http://schemas.openxmlformats.org/officeDocument/2006/relationships/image" Target="../media/image19.png"/><Relationship Id="rId19" Type="http://schemas.openxmlformats.org/officeDocument/2006/relationships/image" Target="../media/image53.jpg"/><Relationship Id="rId31" Type="http://schemas.openxmlformats.org/officeDocument/2006/relationships/image" Target="../media/image58.svg"/><Relationship Id="rId4" Type="http://schemas.openxmlformats.org/officeDocument/2006/relationships/image" Target="../media/image44.png"/><Relationship Id="rId9" Type="http://schemas.openxmlformats.org/officeDocument/2006/relationships/image" Target="../media/image49.svg"/><Relationship Id="rId14" Type="http://schemas.openxmlformats.org/officeDocument/2006/relationships/image" Target="../media/image17.png"/><Relationship Id="rId22" Type="http://schemas.openxmlformats.org/officeDocument/2006/relationships/image" Target="../media/image24.png"/><Relationship Id="rId27" Type="http://schemas.openxmlformats.org/officeDocument/2006/relationships/image" Target="../media/image56.png"/><Relationship Id="rId30" Type="http://schemas.openxmlformats.org/officeDocument/2006/relationships/image" Target="../media/image57.png"/><Relationship Id="rId35" Type="http://schemas.openxmlformats.org/officeDocument/2006/relationships/image" Target="../media/image33.jpg"/><Relationship Id="rId8" Type="http://schemas.openxmlformats.org/officeDocument/2006/relationships/image" Target="../media/image48.png"/><Relationship Id="rId3" Type="http://schemas.openxmlformats.org/officeDocument/2006/relationships/image" Target="../media/image21.svg"/><Relationship Id="rId12" Type="http://schemas.openxmlformats.org/officeDocument/2006/relationships/image" Target="../media/image14.svg"/><Relationship Id="rId17" Type="http://schemas.openxmlformats.org/officeDocument/2006/relationships/image" Target="../media/image51.svg"/><Relationship Id="rId25" Type="http://schemas.openxmlformats.org/officeDocument/2006/relationships/image" Target="../media/image8.png"/><Relationship Id="rId33" Type="http://schemas.openxmlformats.org/officeDocument/2006/relationships/image" Target="../media/image60.svg"/><Relationship Id="rId38" Type="http://schemas.openxmlformats.org/officeDocument/2006/relationships/image" Target="../media/image3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3.xml"/><Relationship Id="rId5" Type="http://schemas.openxmlformats.org/officeDocument/2006/relationships/image" Target="../media/image62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8.svg"/><Relationship Id="rId4" Type="http://schemas.openxmlformats.org/officeDocument/2006/relationships/image" Target="../media/image8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image" Target="../media/image62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64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63.png"/><Relationship Id="rId5" Type="http://schemas.openxmlformats.org/officeDocument/2006/relationships/image" Target="../media/image6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10" Type="http://schemas.openxmlformats.org/officeDocument/2006/relationships/image" Target="../media/image72.svg"/><Relationship Id="rId4" Type="http://schemas.openxmlformats.org/officeDocument/2006/relationships/image" Target="../media/image1.emf"/><Relationship Id="rId9" Type="http://schemas.openxmlformats.org/officeDocument/2006/relationships/image" Target="../media/image7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4988F9-FCEA-0958-B848-ED99FD6E6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53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4988F9-FCEA-0958-B848-ED99FD6E6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1A9FBE5F-47AE-12A1-EEA9-77F2EA0B4E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nl-NL" dirty="0" err="1"/>
              <a:t>Automate</a:t>
            </a:r>
            <a:r>
              <a:rPr lang="nl-NL" dirty="0"/>
              <a:t> data </a:t>
            </a:r>
            <a:r>
              <a:rPr lang="nl-NL" dirty="0" err="1"/>
              <a:t>ingestion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Power Query </a:t>
            </a:r>
            <a:r>
              <a:rPr lang="nl-NL" dirty="0" err="1"/>
              <a:t>function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9A50354-47F4-BCD4-5B65-5E8AA56640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Grzegorz (Greg) Strzymiński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9ED8D64-7057-ED53-5101-15EB683EC3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82936" y="2653748"/>
            <a:ext cx="468000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7040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06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Rule</a:t>
            </a:r>
            <a:r>
              <a:rPr lang="nl-NL" dirty="0"/>
              <a:t> of </a:t>
            </a:r>
            <a:r>
              <a:rPr lang="nl-NL" dirty="0" err="1"/>
              <a:t>thumb</a:t>
            </a:r>
            <a:r>
              <a:rPr lang="nl-NL" dirty="0"/>
              <a:t> – </a:t>
            </a:r>
            <a:r>
              <a:rPr lang="nl-NL" dirty="0" err="1"/>
              <a:t>when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leverage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endParaRPr lang="nl-NL" dirty="0"/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1241947" cy="4055123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Files are in a consistent format and are available for Power BI to ingest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It’s not possible to get access to the actual </a:t>
            </a:r>
            <a:r>
              <a:rPr lang="en-GB" dirty="0" err="1">
                <a:solidFill>
                  <a:srgbClr val="000000"/>
                </a:solidFill>
              </a:rPr>
              <a:t>datasource</a:t>
            </a: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2800" dirty="0">
                <a:solidFill>
                  <a:srgbClr val="000000"/>
                </a:solidFill>
              </a:rPr>
              <a:t>You need the insights quickly</a:t>
            </a: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There are manual steps included in data transformation after extracting from the </a:t>
            </a:r>
            <a:r>
              <a:rPr lang="en-GB" dirty="0" err="1">
                <a:solidFill>
                  <a:srgbClr val="000000"/>
                </a:solidFill>
              </a:rPr>
              <a:t>datasource</a:t>
            </a:r>
            <a:endParaRPr lang="en-GB" sz="2800" dirty="0">
              <a:solidFill>
                <a:srgbClr val="000000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507799D-E7CB-3E5E-E920-DB885A1018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2268" y="452796"/>
            <a:ext cx="923616" cy="92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7420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05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/>
              <a:t>Frequent </a:t>
            </a:r>
            <a:r>
              <a:rPr lang="nl-NL" dirty="0" err="1"/>
              <a:t>use</a:t>
            </a:r>
            <a:r>
              <a:rPr lang="nl-NL" dirty="0"/>
              <a:t> cases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r>
              <a:rPr lang="nl-NL" dirty="0"/>
              <a:t> in Power Query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BD3F3B-6E8B-4F4B-3F65-690DAD0F61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76150" y="630128"/>
            <a:ext cx="762000" cy="762000"/>
          </a:xfrm>
          <a:prstGeom prst="rect">
            <a:avLst/>
          </a:prstGeom>
        </p:spPr>
      </p:pic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1241947" cy="4055123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Monthly extracts from a source system stored as Excels in </a:t>
            </a:r>
            <a:r>
              <a:rPr lang="en-GB" dirty="0" err="1">
                <a:solidFill>
                  <a:srgbClr val="000000"/>
                </a:solidFill>
              </a:rPr>
              <a:t>Sharepoint</a:t>
            </a:r>
            <a:r>
              <a:rPr lang="en-GB" dirty="0">
                <a:solidFill>
                  <a:srgbClr val="000000"/>
                </a:solidFill>
              </a:rPr>
              <a:t> and used for analyses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2800" dirty="0">
                <a:solidFill>
                  <a:srgbClr val="000000"/>
                </a:solidFill>
              </a:rPr>
              <a:t>Transactional data sent in </a:t>
            </a:r>
            <a:r>
              <a:rPr lang="en-GB" dirty="0">
                <a:solidFill>
                  <a:srgbClr val="000000"/>
                </a:solidFill>
              </a:rPr>
              <a:t>manually from another team / division / vendor / client and stored as flat files</a:t>
            </a: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Tracking some data in the same Excel and format but each worksheet represents different entity</a:t>
            </a: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403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A710BE-A89D-75E7-D857-26C63EF78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40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710BE-A89D-75E7-D857-26C63EF78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Live </a:t>
            </a:r>
            <a:r>
              <a:rPr lang="nl-NL" dirty="0" err="1"/>
              <a:t>demos</a:t>
            </a:r>
            <a:endParaRPr lang="nl-NL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 err="1"/>
              <a:t>Let’s</a:t>
            </a:r>
            <a:r>
              <a:rPr lang="nl-NL" sz="2000" dirty="0"/>
              <a:t> </a:t>
            </a:r>
            <a:r>
              <a:rPr lang="nl-NL" sz="2000" dirty="0" err="1"/>
              <a:t>see</a:t>
            </a:r>
            <a:r>
              <a:rPr lang="nl-NL" sz="2000" dirty="0"/>
              <a:t> </a:t>
            </a:r>
            <a:r>
              <a:rPr lang="nl-NL" sz="2000" dirty="0" err="1"/>
              <a:t>some</a:t>
            </a:r>
            <a:r>
              <a:rPr lang="nl-NL" sz="2000" dirty="0"/>
              <a:t> live </a:t>
            </a:r>
            <a:r>
              <a:rPr lang="nl-NL" sz="2000" dirty="0" err="1"/>
              <a:t>examples</a:t>
            </a:r>
            <a:r>
              <a:rPr lang="nl-NL" sz="2000" dirty="0"/>
              <a:t> in Power BI</a:t>
            </a:r>
          </a:p>
        </p:txBody>
      </p:sp>
    </p:spTree>
    <p:extLst>
      <p:ext uri="{BB962C8B-B14F-4D97-AF65-F5344CB8AC3E}">
        <p14:creationId xmlns:p14="http://schemas.microsoft.com/office/powerpoint/2010/main" val="2520100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66385-0601-F4EC-9AA0-FA38F6488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975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6385-0601-F4EC-9AA0-FA38F6488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853413" cy="1325563"/>
          </a:xfrm>
        </p:spPr>
        <p:txBody>
          <a:bodyPr vert="horz"/>
          <a:lstStyle/>
          <a:p>
            <a:r>
              <a:rPr lang="nl-NL" dirty="0" err="1"/>
              <a:t>Function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sample file </a:t>
            </a:r>
            <a:r>
              <a:rPr lang="nl-NL" dirty="0" err="1"/>
              <a:t>transformation</a:t>
            </a:r>
            <a:r>
              <a:rPr lang="nl-NL" dirty="0"/>
              <a:t> or without</a:t>
            </a:r>
          </a:p>
        </p:txBody>
      </p:sp>
      <p:sp>
        <p:nvSpPr>
          <p:cNvPr id="11" name="Tijdelijke aanduiding voor inhoud 4">
            <a:extLst>
              <a:ext uri="{FF2B5EF4-FFF2-40B4-BE49-F238E27FC236}">
                <a16:creationId xmlns:a16="http://schemas.microsoft.com/office/drawing/2014/main" id="{EEDF3808-0F74-5B86-067F-F87E565A8A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5309" y="3170418"/>
            <a:ext cx="4463716" cy="307637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Easier to debug</a:t>
            </a: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Faster to update</a:t>
            </a:r>
          </a:p>
          <a:p>
            <a:pPr>
              <a:defRPr/>
            </a:pPr>
            <a:endParaRPr lang="en-GB" sz="24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Need to maintain the sample file</a:t>
            </a: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Its’ inputs need to be Power Query parameters</a:t>
            </a:r>
          </a:p>
          <a:p>
            <a:pPr>
              <a:defRPr/>
            </a:pP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F73DBDB-2BC6-CBB5-C065-09CFEF1844F6}"/>
              </a:ext>
            </a:extLst>
          </p:cNvPr>
          <p:cNvSpPr txBox="1">
            <a:spLocks/>
          </p:cNvSpPr>
          <p:nvPr/>
        </p:nvSpPr>
        <p:spPr>
          <a:xfrm>
            <a:off x="7401026" y="2038315"/>
            <a:ext cx="4033788" cy="7530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800" dirty="0" err="1">
                <a:latin typeface="+mn-lt"/>
              </a:rPr>
              <a:t>Only</a:t>
            </a:r>
            <a:r>
              <a:rPr lang="nl-NL" sz="2800" dirty="0">
                <a:latin typeface="+mn-lt"/>
              </a:rPr>
              <a:t> </a:t>
            </a:r>
            <a:r>
              <a:rPr lang="nl-NL" sz="2800" dirty="0" err="1">
                <a:latin typeface="+mn-lt"/>
              </a:rPr>
              <a:t>the</a:t>
            </a:r>
            <a:r>
              <a:rPr lang="nl-NL" sz="2800" dirty="0">
                <a:latin typeface="+mn-lt"/>
              </a:rPr>
              <a:t> </a:t>
            </a:r>
            <a:r>
              <a:rPr lang="nl-NL" sz="2800" dirty="0" err="1">
                <a:latin typeface="+mn-lt"/>
              </a:rPr>
              <a:t>function</a:t>
            </a:r>
            <a:endParaRPr lang="nl-NL" sz="2800" dirty="0">
              <a:latin typeface="+mn-lt"/>
            </a:endParaRPr>
          </a:p>
        </p:txBody>
      </p:sp>
      <p:sp>
        <p:nvSpPr>
          <p:cNvPr id="13" name="Titel 3">
            <a:extLst>
              <a:ext uri="{FF2B5EF4-FFF2-40B4-BE49-F238E27FC236}">
                <a16:creationId xmlns:a16="http://schemas.microsoft.com/office/drawing/2014/main" id="{148D2515-CA57-B72F-C075-6FF923900859}"/>
              </a:ext>
            </a:extLst>
          </p:cNvPr>
          <p:cNvSpPr txBox="1">
            <a:spLocks/>
          </p:cNvSpPr>
          <p:nvPr/>
        </p:nvSpPr>
        <p:spPr>
          <a:xfrm>
            <a:off x="1749394" y="2086442"/>
            <a:ext cx="3669631" cy="7530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 err="1">
                <a:latin typeface="+mn-lt"/>
              </a:rPr>
              <a:t>Function</a:t>
            </a:r>
            <a:r>
              <a:rPr lang="nl-NL" dirty="0">
                <a:latin typeface="+mn-lt"/>
              </a:rPr>
              <a:t> </a:t>
            </a:r>
            <a:r>
              <a:rPr lang="nl-NL" dirty="0" err="1">
                <a:latin typeface="+mn-lt"/>
              </a:rPr>
              <a:t>and</a:t>
            </a:r>
            <a:r>
              <a:rPr lang="nl-NL" dirty="0">
                <a:latin typeface="+mn-lt"/>
              </a:rPr>
              <a:t> sample </a:t>
            </a:r>
            <a:r>
              <a:rPr lang="nl-NL" dirty="0" err="1">
                <a:latin typeface="+mn-lt"/>
              </a:rPr>
              <a:t>transformation</a:t>
            </a:r>
            <a:endParaRPr lang="nl-NL" dirty="0"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0362BF1-DE72-6F24-475B-A574B3C44305}"/>
              </a:ext>
            </a:extLst>
          </p:cNvPr>
          <p:cNvGrpSpPr/>
          <p:nvPr/>
        </p:nvGrpSpPr>
        <p:grpSpPr>
          <a:xfrm>
            <a:off x="1017068" y="2086442"/>
            <a:ext cx="583473" cy="581879"/>
            <a:chOff x="4947453" y="2269992"/>
            <a:chExt cx="757201" cy="755132"/>
          </a:xfrm>
          <a:solidFill>
            <a:schemeClr val="tx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129367B-628C-B3AD-675E-79A97A69005F}"/>
                </a:ext>
              </a:extLst>
            </p:cNvPr>
            <p:cNvSpPr/>
            <p:nvPr/>
          </p:nvSpPr>
          <p:spPr>
            <a:xfrm>
              <a:off x="4947453" y="2269992"/>
              <a:ext cx="306190" cy="755132"/>
            </a:xfrm>
            <a:custGeom>
              <a:avLst/>
              <a:gdLst>
                <a:gd name="connsiteX0" fmla="*/ 82754 w 306190"/>
                <a:gd name="connsiteY0" fmla="*/ 142751 h 755132"/>
                <a:gd name="connsiteX1" fmla="*/ 49653 w 306190"/>
                <a:gd name="connsiteY1" fmla="*/ 12413 h 755132"/>
                <a:gd name="connsiteX2" fmla="*/ 49653 w 306190"/>
                <a:gd name="connsiteY2" fmla="*/ 12413 h 755132"/>
                <a:gd name="connsiteX3" fmla="*/ 2069 w 306190"/>
                <a:gd name="connsiteY3" fmla="*/ 0 h 755132"/>
                <a:gd name="connsiteX4" fmla="*/ 2069 w 306190"/>
                <a:gd name="connsiteY4" fmla="*/ 47584 h 755132"/>
                <a:gd name="connsiteX5" fmla="*/ 24826 w 306190"/>
                <a:gd name="connsiteY5" fmla="*/ 53790 h 755132"/>
                <a:gd name="connsiteX6" fmla="*/ 41377 w 306190"/>
                <a:gd name="connsiteY6" fmla="*/ 117925 h 755132"/>
                <a:gd name="connsiteX7" fmla="*/ 41377 w 306190"/>
                <a:gd name="connsiteY7" fmla="*/ 117925 h 755132"/>
                <a:gd name="connsiteX8" fmla="*/ 24826 w 306190"/>
                <a:gd name="connsiteY8" fmla="*/ 134476 h 755132"/>
                <a:gd name="connsiteX9" fmla="*/ 24826 w 306190"/>
                <a:gd name="connsiteY9" fmla="*/ 188266 h 755132"/>
                <a:gd name="connsiteX10" fmla="*/ 260676 w 306190"/>
                <a:gd name="connsiteY10" fmla="*/ 188266 h 755132"/>
                <a:gd name="connsiteX11" fmla="*/ 260676 w 306190"/>
                <a:gd name="connsiteY11" fmla="*/ 295847 h 755132"/>
                <a:gd name="connsiteX12" fmla="*/ 132407 w 306190"/>
                <a:gd name="connsiteY12" fmla="*/ 331017 h 755132"/>
                <a:gd name="connsiteX13" fmla="*/ 167577 w 306190"/>
                <a:gd name="connsiteY13" fmla="*/ 459286 h 755132"/>
                <a:gd name="connsiteX14" fmla="*/ 262745 w 306190"/>
                <a:gd name="connsiteY14" fmla="*/ 459286 h 755132"/>
                <a:gd name="connsiteX15" fmla="*/ 262745 w 306190"/>
                <a:gd name="connsiteY15" fmla="*/ 566867 h 755132"/>
                <a:gd name="connsiteX16" fmla="*/ 24826 w 306190"/>
                <a:gd name="connsiteY16" fmla="*/ 566867 h 755132"/>
                <a:gd name="connsiteX17" fmla="*/ 24826 w 306190"/>
                <a:gd name="connsiteY17" fmla="*/ 620657 h 755132"/>
                <a:gd name="connsiteX18" fmla="*/ 41377 w 306190"/>
                <a:gd name="connsiteY18" fmla="*/ 684792 h 755132"/>
                <a:gd name="connsiteX19" fmla="*/ 0 w 306190"/>
                <a:gd name="connsiteY19" fmla="*/ 707549 h 755132"/>
                <a:gd name="connsiteX20" fmla="*/ 0 w 306190"/>
                <a:gd name="connsiteY20" fmla="*/ 755133 h 755132"/>
                <a:gd name="connsiteX21" fmla="*/ 80685 w 306190"/>
                <a:gd name="connsiteY21" fmla="*/ 707549 h 755132"/>
                <a:gd name="connsiteX22" fmla="*/ 80685 w 306190"/>
                <a:gd name="connsiteY22" fmla="*/ 612382 h 755132"/>
                <a:gd name="connsiteX23" fmla="*/ 306191 w 306190"/>
                <a:gd name="connsiteY23" fmla="*/ 612382 h 755132"/>
                <a:gd name="connsiteX24" fmla="*/ 306191 w 306190"/>
                <a:gd name="connsiteY24" fmla="*/ 401358 h 755132"/>
                <a:gd name="connsiteX25" fmla="*/ 252401 w 306190"/>
                <a:gd name="connsiteY25" fmla="*/ 401358 h 755132"/>
                <a:gd name="connsiteX26" fmla="*/ 188266 w 306190"/>
                <a:gd name="connsiteY26" fmla="*/ 422047 h 755132"/>
                <a:gd name="connsiteX27" fmla="*/ 167577 w 306190"/>
                <a:gd name="connsiteY27" fmla="*/ 357912 h 755132"/>
                <a:gd name="connsiteX28" fmla="*/ 169646 w 306190"/>
                <a:gd name="connsiteY28" fmla="*/ 353775 h 755132"/>
                <a:gd name="connsiteX29" fmla="*/ 211023 w 306190"/>
                <a:gd name="connsiteY29" fmla="*/ 331017 h 755132"/>
                <a:gd name="connsiteX30" fmla="*/ 252401 w 306190"/>
                <a:gd name="connsiteY30" fmla="*/ 353775 h 755132"/>
                <a:gd name="connsiteX31" fmla="*/ 306191 w 306190"/>
                <a:gd name="connsiteY31" fmla="*/ 353775 h 755132"/>
                <a:gd name="connsiteX32" fmla="*/ 306191 w 306190"/>
                <a:gd name="connsiteY32" fmla="*/ 142751 h 755132"/>
                <a:gd name="connsiteX33" fmla="*/ 82754 w 306190"/>
                <a:gd name="connsiteY33" fmla="*/ 142751 h 755132"/>
                <a:gd name="connsiteX34" fmla="*/ 82754 w 306190"/>
                <a:gd name="connsiteY34" fmla="*/ 142751 h 75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06190" h="755132">
                  <a:moveTo>
                    <a:pt x="82754" y="142751"/>
                  </a:moveTo>
                  <a:cubicBezTo>
                    <a:pt x="109649" y="97236"/>
                    <a:pt x="93099" y="39308"/>
                    <a:pt x="49653" y="12413"/>
                  </a:cubicBezTo>
                  <a:cubicBezTo>
                    <a:pt x="49653" y="12413"/>
                    <a:pt x="49653" y="12413"/>
                    <a:pt x="49653" y="12413"/>
                  </a:cubicBezTo>
                  <a:cubicBezTo>
                    <a:pt x="35171" y="4138"/>
                    <a:pt x="18620" y="0"/>
                    <a:pt x="2069" y="0"/>
                  </a:cubicBezTo>
                  <a:lnTo>
                    <a:pt x="2069" y="47584"/>
                  </a:lnTo>
                  <a:cubicBezTo>
                    <a:pt x="10344" y="47584"/>
                    <a:pt x="18620" y="49653"/>
                    <a:pt x="24826" y="53790"/>
                  </a:cubicBezTo>
                  <a:cubicBezTo>
                    <a:pt x="47584" y="66203"/>
                    <a:pt x="55859" y="95167"/>
                    <a:pt x="41377" y="117925"/>
                  </a:cubicBezTo>
                  <a:cubicBezTo>
                    <a:pt x="41377" y="117925"/>
                    <a:pt x="41377" y="117925"/>
                    <a:pt x="41377" y="117925"/>
                  </a:cubicBezTo>
                  <a:cubicBezTo>
                    <a:pt x="39308" y="126200"/>
                    <a:pt x="33102" y="130338"/>
                    <a:pt x="24826" y="134476"/>
                  </a:cubicBezTo>
                  <a:lnTo>
                    <a:pt x="24826" y="188266"/>
                  </a:lnTo>
                  <a:lnTo>
                    <a:pt x="260676" y="188266"/>
                  </a:lnTo>
                  <a:lnTo>
                    <a:pt x="260676" y="295847"/>
                  </a:lnTo>
                  <a:cubicBezTo>
                    <a:pt x="215161" y="268951"/>
                    <a:pt x="157233" y="285502"/>
                    <a:pt x="132407" y="331017"/>
                  </a:cubicBezTo>
                  <a:cubicBezTo>
                    <a:pt x="107581" y="376532"/>
                    <a:pt x="122063" y="434460"/>
                    <a:pt x="167577" y="459286"/>
                  </a:cubicBezTo>
                  <a:cubicBezTo>
                    <a:pt x="196541" y="475837"/>
                    <a:pt x="233781" y="475837"/>
                    <a:pt x="262745" y="459286"/>
                  </a:cubicBezTo>
                  <a:lnTo>
                    <a:pt x="262745" y="566867"/>
                  </a:lnTo>
                  <a:lnTo>
                    <a:pt x="24826" y="566867"/>
                  </a:lnTo>
                  <a:lnTo>
                    <a:pt x="24826" y="620657"/>
                  </a:lnTo>
                  <a:cubicBezTo>
                    <a:pt x="47584" y="633070"/>
                    <a:pt x="55859" y="662034"/>
                    <a:pt x="41377" y="684792"/>
                  </a:cubicBezTo>
                  <a:cubicBezTo>
                    <a:pt x="33102" y="699274"/>
                    <a:pt x="16551" y="707549"/>
                    <a:pt x="0" y="707549"/>
                  </a:cubicBezTo>
                  <a:lnTo>
                    <a:pt x="0" y="755133"/>
                  </a:lnTo>
                  <a:cubicBezTo>
                    <a:pt x="33102" y="755133"/>
                    <a:pt x="64135" y="736513"/>
                    <a:pt x="80685" y="707549"/>
                  </a:cubicBezTo>
                  <a:cubicBezTo>
                    <a:pt x="97236" y="678585"/>
                    <a:pt x="97236" y="641346"/>
                    <a:pt x="80685" y="612382"/>
                  </a:cubicBezTo>
                  <a:lnTo>
                    <a:pt x="306191" y="612382"/>
                  </a:lnTo>
                  <a:lnTo>
                    <a:pt x="306191" y="401358"/>
                  </a:lnTo>
                  <a:lnTo>
                    <a:pt x="252401" y="401358"/>
                  </a:lnTo>
                  <a:cubicBezTo>
                    <a:pt x="239987" y="424116"/>
                    <a:pt x="211023" y="434460"/>
                    <a:pt x="188266" y="422047"/>
                  </a:cubicBezTo>
                  <a:cubicBezTo>
                    <a:pt x="165509" y="409634"/>
                    <a:pt x="157233" y="380670"/>
                    <a:pt x="167577" y="357912"/>
                  </a:cubicBezTo>
                  <a:cubicBezTo>
                    <a:pt x="167577" y="355843"/>
                    <a:pt x="169646" y="355843"/>
                    <a:pt x="169646" y="353775"/>
                  </a:cubicBezTo>
                  <a:cubicBezTo>
                    <a:pt x="177922" y="339293"/>
                    <a:pt x="194473" y="331017"/>
                    <a:pt x="211023" y="331017"/>
                  </a:cubicBezTo>
                  <a:cubicBezTo>
                    <a:pt x="227574" y="331017"/>
                    <a:pt x="244125" y="339293"/>
                    <a:pt x="252401" y="353775"/>
                  </a:cubicBezTo>
                  <a:lnTo>
                    <a:pt x="306191" y="353775"/>
                  </a:lnTo>
                  <a:lnTo>
                    <a:pt x="306191" y="142751"/>
                  </a:lnTo>
                  <a:lnTo>
                    <a:pt x="82754" y="142751"/>
                  </a:lnTo>
                  <a:lnTo>
                    <a:pt x="82754" y="142751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41F985C-DECE-5BE4-8A84-C90B8034427B}"/>
                </a:ext>
              </a:extLst>
            </p:cNvPr>
            <p:cNvSpPr/>
            <p:nvPr/>
          </p:nvSpPr>
          <p:spPr>
            <a:xfrm>
              <a:off x="5302682" y="2412743"/>
              <a:ext cx="401972" cy="473768"/>
            </a:xfrm>
            <a:custGeom>
              <a:avLst/>
              <a:gdLst>
                <a:gd name="connsiteX0" fmla="*/ 306805 w 401972"/>
                <a:gd name="connsiteY0" fmla="*/ 376532 h 473768"/>
                <a:gd name="connsiteX1" fmla="*/ 319218 w 401972"/>
                <a:gd name="connsiteY1" fmla="*/ 424116 h 473768"/>
                <a:gd name="connsiteX2" fmla="*/ 188880 w 401972"/>
                <a:gd name="connsiteY2" fmla="*/ 424116 h 473768"/>
                <a:gd name="connsiteX3" fmla="*/ 188880 w 401972"/>
                <a:gd name="connsiteY3" fmla="*/ 258607 h 473768"/>
                <a:gd name="connsiteX4" fmla="*/ 135090 w 401972"/>
                <a:gd name="connsiteY4" fmla="*/ 258607 h 473768"/>
                <a:gd name="connsiteX5" fmla="*/ 70955 w 401972"/>
                <a:gd name="connsiteY5" fmla="*/ 275158 h 473768"/>
                <a:gd name="connsiteX6" fmla="*/ 54404 w 401972"/>
                <a:gd name="connsiteY6" fmla="*/ 211023 h 473768"/>
                <a:gd name="connsiteX7" fmla="*/ 118539 w 401972"/>
                <a:gd name="connsiteY7" fmla="*/ 194473 h 473768"/>
                <a:gd name="connsiteX8" fmla="*/ 118539 w 401972"/>
                <a:gd name="connsiteY8" fmla="*/ 194473 h 473768"/>
                <a:gd name="connsiteX9" fmla="*/ 135090 w 401972"/>
                <a:gd name="connsiteY9" fmla="*/ 211023 h 473768"/>
                <a:gd name="connsiteX10" fmla="*/ 188880 w 401972"/>
                <a:gd name="connsiteY10" fmla="*/ 211023 h 473768"/>
                <a:gd name="connsiteX11" fmla="*/ 188880 w 401972"/>
                <a:gd name="connsiteY11" fmla="*/ 45515 h 473768"/>
                <a:gd name="connsiteX12" fmla="*/ 319218 w 401972"/>
                <a:gd name="connsiteY12" fmla="*/ 45515 h 473768"/>
                <a:gd name="connsiteX13" fmla="*/ 354389 w 401972"/>
                <a:gd name="connsiteY13" fmla="*/ 173784 h 473768"/>
                <a:gd name="connsiteX14" fmla="*/ 401972 w 401972"/>
                <a:gd name="connsiteY14" fmla="*/ 186197 h 473768"/>
                <a:gd name="connsiteX15" fmla="*/ 401972 w 401972"/>
                <a:gd name="connsiteY15" fmla="*/ 138613 h 473768"/>
                <a:gd name="connsiteX16" fmla="*/ 379215 w 401972"/>
                <a:gd name="connsiteY16" fmla="*/ 132407 h 473768"/>
                <a:gd name="connsiteX17" fmla="*/ 356457 w 401972"/>
                <a:gd name="connsiteY17" fmla="*/ 91030 h 473768"/>
                <a:gd name="connsiteX18" fmla="*/ 379215 w 401972"/>
                <a:gd name="connsiteY18" fmla="*/ 49653 h 473768"/>
                <a:gd name="connsiteX19" fmla="*/ 379215 w 401972"/>
                <a:gd name="connsiteY19" fmla="*/ 0 h 473768"/>
                <a:gd name="connsiteX20" fmla="*/ 141296 w 401972"/>
                <a:gd name="connsiteY20" fmla="*/ 0 h 473768"/>
                <a:gd name="connsiteX21" fmla="*/ 141296 w 401972"/>
                <a:gd name="connsiteY21" fmla="*/ 155164 h 473768"/>
                <a:gd name="connsiteX22" fmla="*/ 13027 w 401972"/>
                <a:gd name="connsiteY22" fmla="*/ 188266 h 473768"/>
                <a:gd name="connsiteX23" fmla="*/ 46129 w 401972"/>
                <a:gd name="connsiteY23" fmla="*/ 318604 h 473768"/>
                <a:gd name="connsiteX24" fmla="*/ 93713 w 401972"/>
                <a:gd name="connsiteY24" fmla="*/ 331017 h 473768"/>
                <a:gd name="connsiteX25" fmla="*/ 141296 w 401972"/>
                <a:gd name="connsiteY25" fmla="*/ 318604 h 473768"/>
                <a:gd name="connsiteX26" fmla="*/ 141296 w 401972"/>
                <a:gd name="connsiteY26" fmla="*/ 473768 h 473768"/>
                <a:gd name="connsiteX27" fmla="*/ 377146 w 401972"/>
                <a:gd name="connsiteY27" fmla="*/ 473768 h 473768"/>
                <a:gd name="connsiteX28" fmla="*/ 377146 w 401972"/>
                <a:gd name="connsiteY28" fmla="*/ 419978 h 473768"/>
                <a:gd name="connsiteX29" fmla="*/ 360595 w 401972"/>
                <a:gd name="connsiteY29" fmla="*/ 355843 h 473768"/>
                <a:gd name="connsiteX30" fmla="*/ 399903 w 401972"/>
                <a:gd name="connsiteY30" fmla="*/ 333086 h 473768"/>
                <a:gd name="connsiteX31" fmla="*/ 399903 w 401972"/>
                <a:gd name="connsiteY31" fmla="*/ 333086 h 473768"/>
                <a:gd name="connsiteX32" fmla="*/ 399903 w 401972"/>
                <a:gd name="connsiteY32" fmla="*/ 285502 h 473768"/>
                <a:gd name="connsiteX33" fmla="*/ 306805 w 401972"/>
                <a:gd name="connsiteY33" fmla="*/ 376532 h 473768"/>
                <a:gd name="connsiteX34" fmla="*/ 306805 w 401972"/>
                <a:gd name="connsiteY34" fmla="*/ 376532 h 47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1972" h="473768">
                  <a:moveTo>
                    <a:pt x="306805" y="376532"/>
                  </a:moveTo>
                  <a:cubicBezTo>
                    <a:pt x="306805" y="393083"/>
                    <a:pt x="310943" y="409634"/>
                    <a:pt x="319218" y="424116"/>
                  </a:cubicBezTo>
                  <a:lnTo>
                    <a:pt x="188880" y="424116"/>
                  </a:lnTo>
                  <a:lnTo>
                    <a:pt x="188880" y="258607"/>
                  </a:lnTo>
                  <a:lnTo>
                    <a:pt x="135090" y="258607"/>
                  </a:lnTo>
                  <a:cubicBezTo>
                    <a:pt x="122677" y="281365"/>
                    <a:pt x="93713" y="289640"/>
                    <a:pt x="70955" y="275158"/>
                  </a:cubicBezTo>
                  <a:cubicBezTo>
                    <a:pt x="48198" y="262745"/>
                    <a:pt x="39922" y="233781"/>
                    <a:pt x="54404" y="211023"/>
                  </a:cubicBezTo>
                  <a:cubicBezTo>
                    <a:pt x="66817" y="188266"/>
                    <a:pt x="95781" y="179991"/>
                    <a:pt x="118539" y="194473"/>
                  </a:cubicBezTo>
                  <a:cubicBezTo>
                    <a:pt x="118539" y="194473"/>
                    <a:pt x="118539" y="194473"/>
                    <a:pt x="118539" y="194473"/>
                  </a:cubicBezTo>
                  <a:cubicBezTo>
                    <a:pt x="124745" y="198610"/>
                    <a:pt x="130952" y="204817"/>
                    <a:pt x="135090" y="211023"/>
                  </a:cubicBezTo>
                  <a:lnTo>
                    <a:pt x="188880" y="211023"/>
                  </a:lnTo>
                  <a:lnTo>
                    <a:pt x="188880" y="45515"/>
                  </a:lnTo>
                  <a:lnTo>
                    <a:pt x="319218" y="45515"/>
                  </a:lnTo>
                  <a:cubicBezTo>
                    <a:pt x="292323" y="91030"/>
                    <a:pt x="308874" y="148958"/>
                    <a:pt x="354389" y="173784"/>
                  </a:cubicBezTo>
                  <a:cubicBezTo>
                    <a:pt x="368871" y="182059"/>
                    <a:pt x="385421" y="186197"/>
                    <a:pt x="401972" y="186197"/>
                  </a:cubicBezTo>
                  <a:lnTo>
                    <a:pt x="401972" y="138613"/>
                  </a:lnTo>
                  <a:cubicBezTo>
                    <a:pt x="393697" y="138613"/>
                    <a:pt x="385421" y="136545"/>
                    <a:pt x="379215" y="132407"/>
                  </a:cubicBezTo>
                  <a:cubicBezTo>
                    <a:pt x="364733" y="124131"/>
                    <a:pt x="356457" y="107581"/>
                    <a:pt x="356457" y="91030"/>
                  </a:cubicBezTo>
                  <a:cubicBezTo>
                    <a:pt x="356457" y="74479"/>
                    <a:pt x="364733" y="57928"/>
                    <a:pt x="379215" y="49653"/>
                  </a:cubicBezTo>
                  <a:lnTo>
                    <a:pt x="379215" y="0"/>
                  </a:lnTo>
                  <a:lnTo>
                    <a:pt x="141296" y="0"/>
                  </a:lnTo>
                  <a:lnTo>
                    <a:pt x="141296" y="155164"/>
                  </a:lnTo>
                  <a:cubicBezTo>
                    <a:pt x="95781" y="128269"/>
                    <a:pt x="37853" y="144820"/>
                    <a:pt x="13027" y="188266"/>
                  </a:cubicBezTo>
                  <a:cubicBezTo>
                    <a:pt x="-13868" y="233781"/>
                    <a:pt x="2683" y="291709"/>
                    <a:pt x="46129" y="318604"/>
                  </a:cubicBezTo>
                  <a:cubicBezTo>
                    <a:pt x="60611" y="326879"/>
                    <a:pt x="77162" y="331017"/>
                    <a:pt x="93713" y="331017"/>
                  </a:cubicBezTo>
                  <a:cubicBezTo>
                    <a:pt x="110263" y="331017"/>
                    <a:pt x="126814" y="326879"/>
                    <a:pt x="141296" y="318604"/>
                  </a:cubicBezTo>
                  <a:lnTo>
                    <a:pt x="141296" y="473768"/>
                  </a:lnTo>
                  <a:lnTo>
                    <a:pt x="377146" y="473768"/>
                  </a:lnTo>
                  <a:lnTo>
                    <a:pt x="377146" y="419978"/>
                  </a:lnTo>
                  <a:cubicBezTo>
                    <a:pt x="354389" y="407565"/>
                    <a:pt x="348182" y="378601"/>
                    <a:pt x="360595" y="355843"/>
                  </a:cubicBezTo>
                  <a:cubicBezTo>
                    <a:pt x="368871" y="341361"/>
                    <a:pt x="383353" y="333086"/>
                    <a:pt x="399903" y="333086"/>
                  </a:cubicBezTo>
                  <a:lnTo>
                    <a:pt x="399903" y="333086"/>
                  </a:lnTo>
                  <a:lnTo>
                    <a:pt x="399903" y="285502"/>
                  </a:lnTo>
                  <a:cubicBezTo>
                    <a:pt x="350251" y="283433"/>
                    <a:pt x="306805" y="324811"/>
                    <a:pt x="306805" y="376532"/>
                  </a:cubicBezTo>
                  <a:lnTo>
                    <a:pt x="306805" y="376532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Graphic 119">
            <a:extLst>
              <a:ext uri="{FF2B5EF4-FFF2-40B4-BE49-F238E27FC236}">
                <a16:creationId xmlns:a16="http://schemas.microsoft.com/office/drawing/2014/main" id="{C845D007-3E65-D3CD-52CB-474689E4FA05}"/>
              </a:ext>
            </a:extLst>
          </p:cNvPr>
          <p:cNvSpPr/>
          <p:nvPr/>
        </p:nvSpPr>
        <p:spPr>
          <a:xfrm>
            <a:off x="6595030" y="2086442"/>
            <a:ext cx="564691" cy="754482"/>
          </a:xfrm>
          <a:custGeom>
            <a:avLst/>
            <a:gdLst>
              <a:gd name="connsiteX0" fmla="*/ 363520 w 564691"/>
              <a:gd name="connsiteY0" fmla="*/ 142148 h 754482"/>
              <a:gd name="connsiteX1" fmla="*/ 330594 w 564691"/>
              <a:gd name="connsiteY1" fmla="*/ 13186 h 754482"/>
              <a:gd name="connsiteX2" fmla="*/ 201633 w 564691"/>
              <a:gd name="connsiteY2" fmla="*/ 46112 h 754482"/>
              <a:gd name="connsiteX3" fmla="*/ 188466 w 564691"/>
              <a:gd name="connsiteY3" fmla="*/ 95090 h 754482"/>
              <a:gd name="connsiteX4" fmla="*/ 201171 w 564691"/>
              <a:gd name="connsiteY4" fmla="*/ 142148 h 754482"/>
              <a:gd name="connsiteX5" fmla="*/ 0 w 564691"/>
              <a:gd name="connsiteY5" fmla="*/ 142148 h 754482"/>
              <a:gd name="connsiteX6" fmla="*/ 0 w 564691"/>
              <a:gd name="connsiteY6" fmla="*/ 353907 h 754482"/>
              <a:gd name="connsiteX7" fmla="*/ 53646 w 564691"/>
              <a:gd name="connsiteY7" fmla="*/ 353907 h 754482"/>
              <a:gd name="connsiteX8" fmla="*/ 117963 w 564691"/>
              <a:gd name="connsiteY8" fmla="*/ 336814 h 754482"/>
              <a:gd name="connsiteX9" fmla="*/ 141408 w 564691"/>
              <a:gd name="connsiteY9" fmla="*/ 377436 h 754482"/>
              <a:gd name="connsiteX10" fmla="*/ 94267 w 564691"/>
              <a:gd name="connsiteY10" fmla="*/ 424412 h 754482"/>
              <a:gd name="connsiteX11" fmla="*/ 53646 w 564691"/>
              <a:gd name="connsiteY11" fmla="*/ 400965 h 754482"/>
              <a:gd name="connsiteX12" fmla="*/ 0 w 564691"/>
              <a:gd name="connsiteY12" fmla="*/ 400965 h 754482"/>
              <a:gd name="connsiteX13" fmla="*/ 0 w 564691"/>
              <a:gd name="connsiteY13" fmla="*/ 612724 h 754482"/>
              <a:gd name="connsiteX14" fmla="*/ 201407 w 564691"/>
              <a:gd name="connsiteY14" fmla="*/ 612724 h 754482"/>
              <a:gd name="connsiteX15" fmla="*/ 234954 w 564691"/>
              <a:gd name="connsiteY15" fmla="*/ 741526 h 754482"/>
              <a:gd name="connsiteX16" fmla="*/ 363755 w 564691"/>
              <a:gd name="connsiteY16" fmla="*/ 707981 h 754482"/>
              <a:gd name="connsiteX17" fmla="*/ 363755 w 564691"/>
              <a:gd name="connsiteY17" fmla="*/ 612724 h 754482"/>
              <a:gd name="connsiteX18" fmla="*/ 564692 w 564691"/>
              <a:gd name="connsiteY18" fmla="*/ 612724 h 754482"/>
              <a:gd name="connsiteX19" fmla="*/ 564692 w 564691"/>
              <a:gd name="connsiteY19" fmla="*/ 400965 h 754482"/>
              <a:gd name="connsiteX20" fmla="*/ 511046 w 564691"/>
              <a:gd name="connsiteY20" fmla="*/ 400965 h 754482"/>
              <a:gd name="connsiteX21" fmla="*/ 446087 w 564691"/>
              <a:gd name="connsiteY21" fmla="*/ 415433 h 754482"/>
              <a:gd name="connsiteX22" fmla="*/ 429636 w 564691"/>
              <a:gd name="connsiteY22" fmla="*/ 353907 h 754482"/>
              <a:gd name="connsiteX23" fmla="*/ 470576 w 564691"/>
              <a:gd name="connsiteY23" fmla="*/ 330379 h 754482"/>
              <a:gd name="connsiteX24" fmla="*/ 511046 w 564691"/>
              <a:gd name="connsiteY24" fmla="*/ 353907 h 754482"/>
              <a:gd name="connsiteX25" fmla="*/ 564692 w 564691"/>
              <a:gd name="connsiteY25" fmla="*/ 353907 h 754482"/>
              <a:gd name="connsiteX26" fmla="*/ 564692 w 564691"/>
              <a:gd name="connsiteY26" fmla="*/ 142148 h 754482"/>
              <a:gd name="connsiteX27" fmla="*/ 517634 w 564691"/>
              <a:gd name="connsiteY27" fmla="*/ 295791 h 754482"/>
              <a:gd name="connsiteX28" fmla="*/ 388931 w 564691"/>
              <a:gd name="connsiteY28" fmla="*/ 330379 h 754482"/>
              <a:gd name="connsiteX29" fmla="*/ 423519 w 564691"/>
              <a:gd name="connsiteY29" fmla="*/ 459081 h 754482"/>
              <a:gd name="connsiteX30" fmla="*/ 517634 w 564691"/>
              <a:gd name="connsiteY30" fmla="*/ 459081 h 754482"/>
              <a:gd name="connsiteX31" fmla="*/ 517634 w 564691"/>
              <a:gd name="connsiteY31" fmla="*/ 565667 h 754482"/>
              <a:gd name="connsiteX32" fmla="*/ 305875 w 564691"/>
              <a:gd name="connsiteY32" fmla="*/ 565667 h 754482"/>
              <a:gd name="connsiteX33" fmla="*/ 305875 w 564691"/>
              <a:gd name="connsiteY33" fmla="*/ 619312 h 754482"/>
              <a:gd name="connsiteX34" fmla="*/ 323124 w 564691"/>
              <a:gd name="connsiteY34" fmla="*/ 683588 h 754482"/>
              <a:gd name="connsiteX35" fmla="*/ 258848 w 564691"/>
              <a:gd name="connsiteY35" fmla="*/ 700837 h 754482"/>
              <a:gd name="connsiteX36" fmla="*/ 241599 w 564691"/>
              <a:gd name="connsiteY36" fmla="*/ 636561 h 754482"/>
              <a:gd name="connsiteX37" fmla="*/ 241641 w 564691"/>
              <a:gd name="connsiteY37" fmla="*/ 636488 h 754482"/>
              <a:gd name="connsiteX38" fmla="*/ 258817 w 564691"/>
              <a:gd name="connsiteY38" fmla="*/ 619312 h 754482"/>
              <a:gd name="connsiteX39" fmla="*/ 258817 w 564691"/>
              <a:gd name="connsiteY39" fmla="*/ 565667 h 754482"/>
              <a:gd name="connsiteX40" fmla="*/ 47058 w 564691"/>
              <a:gd name="connsiteY40" fmla="*/ 565667 h 754482"/>
              <a:gd name="connsiteX41" fmla="*/ 47058 w 564691"/>
              <a:gd name="connsiteY41" fmla="*/ 457669 h 754482"/>
              <a:gd name="connsiteX42" fmla="*/ 94115 w 564691"/>
              <a:gd name="connsiteY42" fmla="*/ 471316 h 754482"/>
              <a:gd name="connsiteX43" fmla="*/ 188819 w 564691"/>
              <a:gd name="connsiteY43" fmla="*/ 377789 h 754482"/>
              <a:gd name="connsiteX44" fmla="*/ 95292 w 564691"/>
              <a:gd name="connsiteY44" fmla="*/ 283086 h 754482"/>
              <a:gd name="connsiteX45" fmla="*/ 47058 w 564691"/>
              <a:gd name="connsiteY45" fmla="*/ 296027 h 754482"/>
              <a:gd name="connsiteX46" fmla="*/ 47058 w 564691"/>
              <a:gd name="connsiteY46" fmla="*/ 189206 h 754482"/>
              <a:gd name="connsiteX47" fmla="*/ 258817 w 564691"/>
              <a:gd name="connsiteY47" fmla="*/ 189206 h 754482"/>
              <a:gd name="connsiteX48" fmla="*/ 258817 w 564691"/>
              <a:gd name="connsiteY48" fmla="*/ 135325 h 754482"/>
              <a:gd name="connsiteX49" fmla="*/ 241893 w 564691"/>
              <a:gd name="connsiteY49" fmla="*/ 70963 h 754482"/>
              <a:gd name="connsiteX50" fmla="*/ 306256 w 564691"/>
              <a:gd name="connsiteY50" fmla="*/ 54040 h 754482"/>
              <a:gd name="connsiteX51" fmla="*/ 323178 w 564691"/>
              <a:gd name="connsiteY51" fmla="*/ 118401 h 754482"/>
              <a:gd name="connsiteX52" fmla="*/ 323051 w 564691"/>
              <a:gd name="connsiteY52" fmla="*/ 118619 h 754482"/>
              <a:gd name="connsiteX53" fmla="*/ 305875 w 564691"/>
              <a:gd name="connsiteY53" fmla="*/ 135795 h 754482"/>
              <a:gd name="connsiteX54" fmla="*/ 305875 w 564691"/>
              <a:gd name="connsiteY54" fmla="*/ 189206 h 754482"/>
              <a:gd name="connsiteX55" fmla="*/ 517634 w 564691"/>
              <a:gd name="connsiteY55" fmla="*/ 189206 h 754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564691" h="754482">
                <a:moveTo>
                  <a:pt x="363520" y="142148"/>
                </a:moveTo>
                <a:cubicBezTo>
                  <a:pt x="390040" y="97444"/>
                  <a:pt x="375299" y="39706"/>
                  <a:pt x="330594" y="13186"/>
                </a:cubicBezTo>
                <a:cubicBezTo>
                  <a:pt x="285889" y="-13334"/>
                  <a:pt x="228152" y="1408"/>
                  <a:pt x="201633" y="46112"/>
                </a:cubicBezTo>
                <a:cubicBezTo>
                  <a:pt x="192845" y="60925"/>
                  <a:pt x="188289" y="77867"/>
                  <a:pt x="188466" y="95090"/>
                </a:cubicBezTo>
                <a:cubicBezTo>
                  <a:pt x="188602" y="111605"/>
                  <a:pt x="192979" y="127808"/>
                  <a:pt x="201171" y="142148"/>
                </a:cubicBezTo>
                <a:lnTo>
                  <a:pt x="0" y="142148"/>
                </a:lnTo>
                <a:lnTo>
                  <a:pt x="0" y="353907"/>
                </a:lnTo>
                <a:lnTo>
                  <a:pt x="53646" y="353907"/>
                </a:lnTo>
                <a:cubicBezTo>
                  <a:pt x="66686" y="331426"/>
                  <a:pt x="95482" y="323774"/>
                  <a:pt x="117963" y="336814"/>
                </a:cubicBezTo>
                <a:cubicBezTo>
                  <a:pt x="132450" y="345218"/>
                  <a:pt x="141378" y="360688"/>
                  <a:pt x="141408" y="377436"/>
                </a:cubicBezTo>
                <a:cubicBezTo>
                  <a:pt x="141361" y="403426"/>
                  <a:pt x="120256" y="424456"/>
                  <a:pt x="94267" y="424412"/>
                </a:cubicBezTo>
                <a:cubicBezTo>
                  <a:pt x="77519" y="424381"/>
                  <a:pt x="62049" y="415452"/>
                  <a:pt x="53646" y="400965"/>
                </a:cubicBezTo>
                <a:lnTo>
                  <a:pt x="0" y="400965"/>
                </a:lnTo>
                <a:lnTo>
                  <a:pt x="0" y="612724"/>
                </a:lnTo>
                <a:lnTo>
                  <a:pt x="201407" y="612724"/>
                </a:lnTo>
                <a:cubicBezTo>
                  <a:pt x="175101" y="657556"/>
                  <a:pt x="190122" y="715223"/>
                  <a:pt x="234954" y="741526"/>
                </a:cubicBezTo>
                <a:cubicBezTo>
                  <a:pt x="279786" y="767831"/>
                  <a:pt x="337450" y="752810"/>
                  <a:pt x="363755" y="707981"/>
                </a:cubicBezTo>
                <a:cubicBezTo>
                  <a:pt x="381009" y="678572"/>
                  <a:pt x="381009" y="642133"/>
                  <a:pt x="363755" y="612724"/>
                </a:cubicBezTo>
                <a:lnTo>
                  <a:pt x="564692" y="612724"/>
                </a:lnTo>
                <a:lnTo>
                  <a:pt x="564692" y="400965"/>
                </a:lnTo>
                <a:lnTo>
                  <a:pt x="511046" y="400965"/>
                </a:lnTo>
                <a:cubicBezTo>
                  <a:pt x="497103" y="422899"/>
                  <a:pt x="468021" y="429376"/>
                  <a:pt x="446087" y="415433"/>
                </a:cubicBezTo>
                <a:cubicBezTo>
                  <a:pt x="425450" y="402313"/>
                  <a:pt x="418302" y="375575"/>
                  <a:pt x="429636" y="353907"/>
                </a:cubicBezTo>
                <a:cubicBezTo>
                  <a:pt x="438076" y="339289"/>
                  <a:pt x="453697" y="330313"/>
                  <a:pt x="470576" y="330379"/>
                </a:cubicBezTo>
                <a:cubicBezTo>
                  <a:pt x="487286" y="330480"/>
                  <a:pt x="502691" y="339435"/>
                  <a:pt x="511046" y="353907"/>
                </a:cubicBezTo>
                <a:lnTo>
                  <a:pt x="564692" y="353907"/>
                </a:lnTo>
                <a:lnTo>
                  <a:pt x="564692" y="142148"/>
                </a:lnTo>
                <a:close/>
                <a:moveTo>
                  <a:pt x="517634" y="295791"/>
                </a:moveTo>
                <a:cubicBezTo>
                  <a:pt x="472543" y="269801"/>
                  <a:pt x="414921" y="285288"/>
                  <a:pt x="388931" y="330379"/>
                </a:cubicBezTo>
                <a:cubicBezTo>
                  <a:pt x="362941" y="375469"/>
                  <a:pt x="378428" y="433091"/>
                  <a:pt x="423519" y="459081"/>
                </a:cubicBezTo>
                <a:cubicBezTo>
                  <a:pt x="452516" y="476342"/>
                  <a:pt x="488637" y="476342"/>
                  <a:pt x="517634" y="459081"/>
                </a:cubicBezTo>
                <a:lnTo>
                  <a:pt x="517634" y="565667"/>
                </a:lnTo>
                <a:lnTo>
                  <a:pt x="305875" y="565667"/>
                </a:lnTo>
                <a:lnTo>
                  <a:pt x="305875" y="619312"/>
                </a:lnTo>
                <a:cubicBezTo>
                  <a:pt x="328387" y="632298"/>
                  <a:pt x="336109" y="661076"/>
                  <a:pt x="323124" y="683588"/>
                </a:cubicBezTo>
                <a:cubicBezTo>
                  <a:pt x="310136" y="706101"/>
                  <a:pt x="281360" y="713823"/>
                  <a:pt x="258848" y="700837"/>
                </a:cubicBezTo>
                <a:cubicBezTo>
                  <a:pt x="236335" y="687850"/>
                  <a:pt x="228613" y="659074"/>
                  <a:pt x="241599" y="636561"/>
                </a:cubicBezTo>
                <a:cubicBezTo>
                  <a:pt x="241613" y="636538"/>
                  <a:pt x="241627" y="636512"/>
                  <a:pt x="241641" y="636488"/>
                </a:cubicBezTo>
                <a:cubicBezTo>
                  <a:pt x="245766" y="629359"/>
                  <a:pt x="251688" y="623437"/>
                  <a:pt x="258817" y="619312"/>
                </a:cubicBezTo>
                <a:lnTo>
                  <a:pt x="258817" y="565667"/>
                </a:lnTo>
                <a:lnTo>
                  <a:pt x="47058" y="565667"/>
                </a:lnTo>
                <a:lnTo>
                  <a:pt x="47058" y="457669"/>
                </a:lnTo>
                <a:cubicBezTo>
                  <a:pt x="61221" y="466389"/>
                  <a:pt x="77484" y="471104"/>
                  <a:pt x="94115" y="471316"/>
                </a:cubicBezTo>
                <a:cubicBezTo>
                  <a:pt x="146093" y="471641"/>
                  <a:pt x="188494" y="429767"/>
                  <a:pt x="188819" y="377789"/>
                </a:cubicBezTo>
                <a:cubicBezTo>
                  <a:pt x="189143" y="325812"/>
                  <a:pt x="147269" y="283410"/>
                  <a:pt x="95292" y="283086"/>
                </a:cubicBezTo>
                <a:cubicBezTo>
                  <a:pt x="78326" y="282857"/>
                  <a:pt x="61630" y="287337"/>
                  <a:pt x="47058" y="296027"/>
                </a:cubicBezTo>
                <a:lnTo>
                  <a:pt x="47058" y="189206"/>
                </a:lnTo>
                <a:lnTo>
                  <a:pt x="258817" y="189206"/>
                </a:lnTo>
                <a:lnTo>
                  <a:pt x="258817" y="135325"/>
                </a:lnTo>
                <a:cubicBezTo>
                  <a:pt x="236370" y="122225"/>
                  <a:pt x="228794" y="93409"/>
                  <a:pt x="241893" y="70963"/>
                </a:cubicBezTo>
                <a:cubicBezTo>
                  <a:pt x="254994" y="48517"/>
                  <a:pt x="283809" y="40940"/>
                  <a:pt x="306256" y="54040"/>
                </a:cubicBezTo>
                <a:cubicBezTo>
                  <a:pt x="328702" y="67139"/>
                  <a:pt x="336279" y="95955"/>
                  <a:pt x="323178" y="118401"/>
                </a:cubicBezTo>
                <a:cubicBezTo>
                  <a:pt x="323135" y="118474"/>
                  <a:pt x="323093" y="118547"/>
                  <a:pt x="323051" y="118619"/>
                </a:cubicBezTo>
                <a:cubicBezTo>
                  <a:pt x="318926" y="125749"/>
                  <a:pt x="313004" y="131672"/>
                  <a:pt x="305875" y="135795"/>
                </a:cubicBezTo>
                <a:lnTo>
                  <a:pt x="305875" y="189206"/>
                </a:lnTo>
                <a:lnTo>
                  <a:pt x="517634" y="189206"/>
                </a:lnTo>
                <a:close/>
              </a:path>
            </a:pathLst>
          </a:custGeom>
          <a:solidFill>
            <a:schemeClr val="tx1"/>
          </a:solidFill>
          <a:ln w="2351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Tijdelijke aanduiding voor inhoud 4">
            <a:extLst>
              <a:ext uri="{FF2B5EF4-FFF2-40B4-BE49-F238E27FC236}">
                <a16:creationId xmlns:a16="http://schemas.microsoft.com/office/drawing/2014/main" id="{4F877638-982F-72E6-1224-C6704C7EC3AE}"/>
              </a:ext>
            </a:extLst>
          </p:cNvPr>
          <p:cNvSpPr txBox="1">
            <a:spLocks/>
          </p:cNvSpPr>
          <p:nvPr/>
        </p:nvSpPr>
        <p:spPr>
          <a:xfrm>
            <a:off x="6595030" y="3170418"/>
            <a:ext cx="4463716" cy="30763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More troublesome to debug</a:t>
            </a: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Slower to update</a:t>
            </a:r>
          </a:p>
          <a:p>
            <a:pPr>
              <a:defRPr/>
            </a:pPr>
            <a:endParaRPr lang="en-GB" sz="24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Doesn’t need the sample transformation file</a:t>
            </a:r>
          </a:p>
          <a:p>
            <a:pPr>
              <a:defRPr/>
            </a:pPr>
            <a:r>
              <a:rPr lang="en-GB" sz="2400" dirty="0">
                <a:solidFill>
                  <a:srgbClr val="000000"/>
                </a:solidFill>
              </a:rPr>
              <a:t>Its’ inputs can be unrelated to Power Query parameters</a:t>
            </a:r>
          </a:p>
        </p:txBody>
      </p:sp>
      <p:sp>
        <p:nvSpPr>
          <p:cNvPr id="19" name="Plus Sign 18">
            <a:extLst>
              <a:ext uri="{FF2B5EF4-FFF2-40B4-BE49-F238E27FC236}">
                <a16:creationId xmlns:a16="http://schemas.microsoft.com/office/drawing/2014/main" id="{423E0F6E-8AE6-2EE9-1919-FE1C0167BD59}"/>
              </a:ext>
            </a:extLst>
          </p:cNvPr>
          <p:cNvSpPr/>
          <p:nvPr/>
        </p:nvSpPr>
        <p:spPr>
          <a:xfrm>
            <a:off x="293572" y="3272589"/>
            <a:ext cx="544628" cy="544628"/>
          </a:xfrm>
          <a:prstGeom prst="mathPlus">
            <a:avLst/>
          </a:prstGeom>
          <a:solidFill>
            <a:schemeClr val="accent6"/>
          </a:solidFill>
          <a:ln>
            <a:solidFill>
              <a:srgbClr val="1972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Plus Sign 19">
            <a:extLst>
              <a:ext uri="{FF2B5EF4-FFF2-40B4-BE49-F238E27FC236}">
                <a16:creationId xmlns:a16="http://schemas.microsoft.com/office/drawing/2014/main" id="{094CF34C-6E42-4FDE-62AB-97AE40FB3EA6}"/>
              </a:ext>
            </a:extLst>
          </p:cNvPr>
          <p:cNvSpPr/>
          <p:nvPr/>
        </p:nvSpPr>
        <p:spPr>
          <a:xfrm>
            <a:off x="5913121" y="4897655"/>
            <a:ext cx="544628" cy="544628"/>
          </a:xfrm>
          <a:prstGeom prst="mathPlus">
            <a:avLst/>
          </a:prstGeom>
          <a:solidFill>
            <a:schemeClr val="accent6"/>
          </a:solidFill>
          <a:ln>
            <a:solidFill>
              <a:srgbClr val="19727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Minus Sign 20">
            <a:extLst>
              <a:ext uri="{FF2B5EF4-FFF2-40B4-BE49-F238E27FC236}">
                <a16:creationId xmlns:a16="http://schemas.microsoft.com/office/drawing/2014/main" id="{785AE0B2-EE12-5A33-A144-C0EE2E70EB47}"/>
              </a:ext>
            </a:extLst>
          </p:cNvPr>
          <p:cNvSpPr/>
          <p:nvPr/>
        </p:nvSpPr>
        <p:spPr>
          <a:xfrm>
            <a:off x="273400" y="4854490"/>
            <a:ext cx="544628" cy="544628"/>
          </a:xfrm>
          <a:prstGeom prst="mathMinus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  <p:sp>
        <p:nvSpPr>
          <p:cNvPr id="22" name="Minus Sign 21">
            <a:extLst>
              <a:ext uri="{FF2B5EF4-FFF2-40B4-BE49-F238E27FC236}">
                <a16:creationId xmlns:a16="http://schemas.microsoft.com/office/drawing/2014/main" id="{26960A23-8592-0D35-64A5-797161C3F3A9}"/>
              </a:ext>
            </a:extLst>
          </p:cNvPr>
          <p:cNvSpPr/>
          <p:nvPr/>
        </p:nvSpPr>
        <p:spPr>
          <a:xfrm>
            <a:off x="5913121" y="3272589"/>
            <a:ext cx="544628" cy="544628"/>
          </a:xfrm>
          <a:prstGeom prst="mathMinus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936214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996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Considerations</a:t>
            </a:r>
            <a:endParaRPr lang="nl-NL" dirty="0"/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1241947" cy="4055123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Extracts are stored and available for Power BI to ingest -&gt; they come from somewhere too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sz="2800" dirty="0">
                <a:solidFill>
                  <a:srgbClr val="000000"/>
                </a:solidFill>
              </a:rPr>
              <a:t>You need the insights quickly –&gt; there’s no time for developing a more forward-looking solution</a:t>
            </a: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There are manual steps included in data transformation after extracting from the </a:t>
            </a:r>
            <a:r>
              <a:rPr lang="en-GB" dirty="0" err="1">
                <a:solidFill>
                  <a:srgbClr val="000000"/>
                </a:solidFill>
              </a:rPr>
              <a:t>datasource</a:t>
            </a:r>
            <a:r>
              <a:rPr lang="en-GB" dirty="0">
                <a:solidFill>
                  <a:srgbClr val="000000"/>
                </a:solidFill>
              </a:rPr>
              <a:t> –&gt; it’s not possible to connect to the </a:t>
            </a:r>
            <a:r>
              <a:rPr lang="en-GB" dirty="0" err="1">
                <a:solidFill>
                  <a:srgbClr val="000000"/>
                </a:solidFill>
              </a:rPr>
              <a:t>datasource</a:t>
            </a:r>
            <a:r>
              <a:rPr lang="en-GB" dirty="0">
                <a:solidFill>
                  <a:srgbClr val="000000"/>
                </a:solidFill>
              </a:rPr>
              <a:t> and pull all data at once</a:t>
            </a: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</p:txBody>
      </p:sp>
      <p:grpSp>
        <p:nvGrpSpPr>
          <p:cNvPr id="2" name="Group 13">
            <a:extLst>
              <a:ext uri="{FF2B5EF4-FFF2-40B4-BE49-F238E27FC236}">
                <a16:creationId xmlns:a16="http://schemas.microsoft.com/office/drawing/2014/main" id="{AAD2CE74-A555-76A6-CD39-C18E418DA6C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68168" y="630129"/>
            <a:ext cx="757115" cy="762000"/>
            <a:chOff x="3684" y="2004"/>
            <a:chExt cx="310" cy="312"/>
          </a:xfrm>
          <a:solidFill>
            <a:srgbClr val="C94F0F"/>
          </a:solidFill>
        </p:grpSpPr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733F3049-EA89-C845-C770-46E9255DC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4" y="2007"/>
              <a:ext cx="310" cy="273"/>
            </a:xfrm>
            <a:custGeom>
              <a:avLst/>
              <a:gdLst>
                <a:gd name="T0" fmla="*/ 310 w 310"/>
                <a:gd name="T1" fmla="*/ 239 h 273"/>
                <a:gd name="T2" fmla="*/ 310 w 310"/>
                <a:gd name="T3" fmla="*/ 273 h 273"/>
                <a:gd name="T4" fmla="*/ 155 w 310"/>
                <a:gd name="T5" fmla="*/ 33 h 273"/>
                <a:gd name="T6" fmla="*/ 0 w 310"/>
                <a:gd name="T7" fmla="*/ 273 h 273"/>
                <a:gd name="T8" fmla="*/ 0 w 310"/>
                <a:gd name="T9" fmla="*/ 239 h 273"/>
                <a:gd name="T10" fmla="*/ 155 w 310"/>
                <a:gd name="T11" fmla="*/ 0 h 273"/>
                <a:gd name="T12" fmla="*/ 310 w 310"/>
                <a:gd name="T13" fmla="*/ 239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273">
                  <a:moveTo>
                    <a:pt x="310" y="239"/>
                  </a:moveTo>
                  <a:lnTo>
                    <a:pt x="310" y="273"/>
                  </a:lnTo>
                  <a:lnTo>
                    <a:pt x="155" y="33"/>
                  </a:lnTo>
                  <a:lnTo>
                    <a:pt x="0" y="273"/>
                  </a:lnTo>
                  <a:lnTo>
                    <a:pt x="0" y="239"/>
                  </a:lnTo>
                  <a:lnTo>
                    <a:pt x="155" y="0"/>
                  </a:lnTo>
                  <a:lnTo>
                    <a:pt x="310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B1462163-AC0E-E87F-E434-99C09FC40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2" y="2108"/>
              <a:ext cx="53" cy="126"/>
            </a:xfrm>
            <a:custGeom>
              <a:avLst/>
              <a:gdLst>
                <a:gd name="T0" fmla="*/ 44 w 53"/>
                <a:gd name="T1" fmla="*/ 126 h 126"/>
                <a:gd name="T2" fmla="*/ 10 w 53"/>
                <a:gd name="T3" fmla="*/ 126 h 126"/>
                <a:gd name="T4" fmla="*/ 0 w 53"/>
                <a:gd name="T5" fmla="*/ 0 h 126"/>
                <a:gd name="T6" fmla="*/ 53 w 53"/>
                <a:gd name="T7" fmla="*/ 0 h 126"/>
                <a:gd name="T8" fmla="*/ 44 w 53"/>
                <a:gd name="T9" fmla="*/ 126 h 126"/>
                <a:gd name="T10" fmla="*/ 27 w 53"/>
                <a:gd name="T11" fmla="*/ 106 h 126"/>
                <a:gd name="T12" fmla="*/ 27 w 53"/>
                <a:gd name="T13" fmla="*/ 106 h 126"/>
                <a:gd name="T14" fmla="*/ 34 w 53"/>
                <a:gd name="T15" fmla="*/ 19 h 126"/>
                <a:gd name="T16" fmla="*/ 20 w 53"/>
                <a:gd name="T17" fmla="*/ 19 h 126"/>
                <a:gd name="T18" fmla="*/ 27 w 53"/>
                <a:gd name="T19" fmla="*/ 10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126">
                  <a:moveTo>
                    <a:pt x="44" y="126"/>
                  </a:moveTo>
                  <a:lnTo>
                    <a:pt x="10" y="126"/>
                  </a:lnTo>
                  <a:lnTo>
                    <a:pt x="0" y="0"/>
                  </a:lnTo>
                  <a:lnTo>
                    <a:pt x="53" y="0"/>
                  </a:lnTo>
                  <a:lnTo>
                    <a:pt x="44" y="126"/>
                  </a:lnTo>
                  <a:close/>
                  <a:moveTo>
                    <a:pt x="27" y="106"/>
                  </a:moveTo>
                  <a:lnTo>
                    <a:pt x="27" y="106"/>
                  </a:lnTo>
                  <a:lnTo>
                    <a:pt x="34" y="19"/>
                  </a:lnTo>
                  <a:lnTo>
                    <a:pt x="20" y="19"/>
                  </a:lnTo>
                  <a:lnTo>
                    <a:pt x="27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Oval 16">
              <a:extLst>
                <a:ext uri="{FF2B5EF4-FFF2-40B4-BE49-F238E27FC236}">
                  <a16:creationId xmlns:a16="http://schemas.microsoft.com/office/drawing/2014/main" id="{32868BF5-19A7-D0C4-8A5C-DBCDA7092A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" y="2248"/>
              <a:ext cx="39" cy="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Rectangle 17">
              <a:extLst>
                <a:ext uri="{FF2B5EF4-FFF2-40B4-BE49-F238E27FC236}">
                  <a16:creationId xmlns:a16="http://schemas.microsoft.com/office/drawing/2014/main" id="{31B55BD8-B351-1896-36E0-782A72F8B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9" y="2004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Rectangle 18">
              <a:extLst>
                <a:ext uri="{FF2B5EF4-FFF2-40B4-BE49-F238E27FC236}">
                  <a16:creationId xmlns:a16="http://schemas.microsoft.com/office/drawing/2014/main" id="{1D00B283-1F54-1748-8BD1-9BABFFE3E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294"/>
              <a:ext cx="310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0415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270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When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 err="1"/>
              <a:t>might</a:t>
            </a:r>
            <a:r>
              <a:rPr lang="nl-NL" dirty="0"/>
              <a:t>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go-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hoice</a:t>
            </a:r>
            <a:endParaRPr lang="nl-NL" dirty="0"/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1241947" cy="4055123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Large data volume from flat files and incremental addition of new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Input format is not always consistent</a:t>
            </a:r>
          </a:p>
          <a:p>
            <a:pPr marL="0" indent="0">
              <a:buNone/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ata transformations required are very compute-heavy</a:t>
            </a: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EC0719E-F143-45D8-51C6-3C651588DE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59396" y="497358"/>
            <a:ext cx="879054" cy="879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674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93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Alternative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endParaRPr lang="nl-NL" dirty="0"/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1241947" cy="4055123"/>
          </a:xfrm>
        </p:spPr>
        <p:txBody>
          <a:bodyPr>
            <a:normAutofit/>
          </a:bodyPr>
          <a:lstStyle/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Consolidating inputs, favourably with migration to another file type</a:t>
            </a:r>
          </a:p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irect or indirect connection to a data source</a:t>
            </a:r>
          </a:p>
          <a:p>
            <a:pPr marL="0" indent="0">
              <a:buNone/>
              <a:defRPr/>
            </a:pP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API</a:t>
            </a:r>
            <a:endParaRPr lang="en-GB" sz="2800" dirty="0">
              <a:solidFill>
                <a:srgbClr val="000000"/>
              </a:solidFill>
            </a:endParaRPr>
          </a:p>
          <a:p>
            <a:pPr>
              <a:defRPr/>
            </a:pPr>
            <a:endParaRPr lang="en-GB" sz="2800" dirty="0">
              <a:solidFill>
                <a:srgbClr val="000000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5F7C888-BACC-77A1-FADB-3639E63E6C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779121" y="1121029"/>
            <a:ext cx="762000" cy="762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E1561C5-E4F1-6738-EA27-424AE34D07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93458" y="1121029"/>
            <a:ext cx="762000" cy="762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DA43E63-47C0-51F5-E8DE-6D78ECF2EC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637520" y="1121029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937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928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Once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ingest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data 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7AD96F2-3DC3-038F-1AFF-D67D9FA50BB1}"/>
              </a:ext>
            </a:extLst>
          </p:cNvPr>
          <p:cNvGrpSpPr/>
          <p:nvPr/>
        </p:nvGrpSpPr>
        <p:grpSpPr>
          <a:xfrm>
            <a:off x="1258964" y="1907796"/>
            <a:ext cx="2875925" cy="3042407"/>
            <a:chOff x="5948478" y="2665588"/>
            <a:chExt cx="1766934" cy="186921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DCB204C-06E7-4E45-E96B-759664F743DC}"/>
                </a:ext>
              </a:extLst>
            </p:cNvPr>
            <p:cNvGrpSpPr/>
            <p:nvPr/>
          </p:nvGrpSpPr>
          <p:grpSpPr>
            <a:xfrm>
              <a:off x="5948478" y="2665588"/>
              <a:ext cx="1766934" cy="1869218"/>
              <a:chOff x="7576904" y="5034583"/>
              <a:chExt cx="744121" cy="787194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7FDB29D1-04C1-E76F-5123-C490538CC826}"/>
                  </a:ext>
                </a:extLst>
              </p:cNvPr>
              <p:cNvSpPr/>
              <p:nvPr/>
            </p:nvSpPr>
            <p:spPr>
              <a:xfrm>
                <a:off x="7576904" y="5302205"/>
                <a:ext cx="245453" cy="228600"/>
              </a:xfrm>
              <a:prstGeom prst="rect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79D7FA3-7D20-BAE8-616A-31B1FD608B17}"/>
                  </a:ext>
                </a:extLst>
              </p:cNvPr>
              <p:cNvSpPr/>
              <p:nvPr/>
            </p:nvSpPr>
            <p:spPr>
              <a:xfrm>
                <a:off x="7689387" y="5302204"/>
                <a:ext cx="227966" cy="228600"/>
              </a:xfrm>
              <a:prstGeom prst="rect">
                <a:avLst/>
              </a:prstGeom>
              <a:noFill/>
              <a:ln w="285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171450" marR="0" lvl="0" indent="-17145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1E1E1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C5B329D-E262-F765-BD17-A8A81B9CE844}"/>
                  </a:ext>
                </a:extLst>
              </p:cNvPr>
              <p:cNvGrpSpPr/>
              <p:nvPr/>
            </p:nvGrpSpPr>
            <p:grpSpPr>
              <a:xfrm>
                <a:off x="7634985" y="5302206"/>
                <a:ext cx="227966" cy="228600"/>
                <a:chOff x="1296034" y="4666704"/>
                <a:chExt cx="227966" cy="228600"/>
              </a:xfrm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00E759B7-7528-263B-D1E5-A8B66D59084C}"/>
                    </a:ext>
                  </a:extLst>
                </p:cNvPr>
                <p:cNvSpPr/>
                <p:nvPr/>
              </p:nvSpPr>
              <p:spPr>
                <a:xfrm>
                  <a:off x="1296034" y="4666704"/>
                  <a:ext cx="227966" cy="228600"/>
                </a:xfrm>
                <a:prstGeom prst="rect">
                  <a:avLst/>
                </a:prstGeom>
                <a:solidFill>
                  <a:srgbClr val="C8A5F0"/>
                </a:solidFill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171450" marR="0" lvl="0" indent="-17145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1A107E2B-294A-90C6-4EE4-2C7B066801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96034" y="4727845"/>
                  <a:ext cx="22796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</p:cxnSp>
          </p:grpSp>
          <p:cxnSp>
            <p:nvCxnSpPr>
              <p:cNvPr id="22" name="Connector: Elbow 21">
                <a:extLst>
                  <a:ext uri="{FF2B5EF4-FFF2-40B4-BE49-F238E27FC236}">
                    <a16:creationId xmlns:a16="http://schemas.microsoft.com/office/drawing/2014/main" id="{4C4666B5-FC90-0996-AB24-635A8B896768}"/>
                  </a:ext>
                </a:extLst>
              </p:cNvPr>
              <p:cNvCxnSpPr>
                <a:cxnSpLocks/>
                <a:stCxn id="30" idx="2"/>
                <a:endCxn id="28" idx="1"/>
              </p:cNvCxnSpPr>
              <p:nvPr/>
            </p:nvCxnSpPr>
            <p:spPr>
              <a:xfrm rot="16200000" flipH="1">
                <a:off x="7832678" y="5447096"/>
                <a:ext cx="176671" cy="344090"/>
              </a:xfrm>
              <a:prstGeom prst="bentConnector2">
                <a:avLst/>
              </a:prstGeom>
              <a:noFill/>
              <a:ln w="28575" cap="flat" cmpd="sng" algn="ctr">
                <a:solidFill>
                  <a:srgbClr val="1E1E1E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032BFB7F-C1C5-8613-E436-4AF5ABDD3AA1}"/>
                  </a:ext>
                </a:extLst>
              </p:cNvPr>
              <p:cNvGrpSpPr/>
              <p:nvPr/>
            </p:nvGrpSpPr>
            <p:grpSpPr>
              <a:xfrm>
                <a:off x="8093058" y="5593177"/>
                <a:ext cx="227967" cy="228600"/>
                <a:chOff x="1406352" y="4666704"/>
                <a:chExt cx="227967" cy="228600"/>
              </a:xfrm>
            </p:grpSpPr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6E140A-9C24-DFB8-0777-CE74FCF61833}"/>
                    </a:ext>
                  </a:extLst>
                </p:cNvPr>
                <p:cNvSpPr/>
                <p:nvPr/>
              </p:nvSpPr>
              <p:spPr>
                <a:xfrm>
                  <a:off x="1406352" y="4666704"/>
                  <a:ext cx="227966" cy="228600"/>
                </a:xfrm>
                <a:prstGeom prst="rect">
                  <a:avLst/>
                </a:prstGeom>
                <a:solidFill>
                  <a:srgbClr val="A5A5A5"/>
                </a:solidFill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171450" marR="0" lvl="0" indent="-17145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1976BA27-DBCC-40D9-2F2B-88B97C0C43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06353" y="4727845"/>
                  <a:ext cx="22796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</p:cxn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59959606-4A16-8615-EA96-B4326B7C705F}"/>
                  </a:ext>
                </a:extLst>
              </p:cNvPr>
              <p:cNvGrpSpPr/>
              <p:nvPr/>
            </p:nvGrpSpPr>
            <p:grpSpPr>
              <a:xfrm>
                <a:off x="8088494" y="5034583"/>
                <a:ext cx="227974" cy="228600"/>
                <a:chOff x="1400340" y="4666704"/>
                <a:chExt cx="227974" cy="228600"/>
              </a:xfrm>
            </p:grpSpPr>
            <p:sp>
              <p:nvSpPr>
                <p:cNvPr id="26" name="Rectangle 25">
                  <a:extLst>
                    <a:ext uri="{FF2B5EF4-FFF2-40B4-BE49-F238E27FC236}">
                      <a16:creationId xmlns:a16="http://schemas.microsoft.com/office/drawing/2014/main" id="{0E0150D0-10ED-0863-D05B-6EE013391D82}"/>
                    </a:ext>
                  </a:extLst>
                </p:cNvPr>
                <p:cNvSpPr/>
                <p:nvPr/>
              </p:nvSpPr>
              <p:spPr>
                <a:xfrm>
                  <a:off x="1400348" y="4666704"/>
                  <a:ext cx="227966" cy="228600"/>
                </a:xfrm>
                <a:prstGeom prst="rect">
                  <a:avLst/>
                </a:prstGeom>
                <a:solidFill>
                  <a:srgbClr val="FF99CC"/>
                </a:solidFill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171450" marR="0" lvl="0" indent="-17145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E1E1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0BF842CE-5C11-9EB0-0D77-78F636E0739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00340" y="4727845"/>
                  <a:ext cx="22796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1E1E1E"/>
                  </a:solidFill>
                  <a:prstDash val="solid"/>
                  <a:miter lim="800000"/>
                </a:ln>
                <a:effectLst/>
              </p:spPr>
            </p:cxnSp>
          </p:grpSp>
          <p:cxnSp>
            <p:nvCxnSpPr>
              <p:cNvPr id="25" name="Connector: Elbow 24">
                <a:extLst>
                  <a:ext uri="{FF2B5EF4-FFF2-40B4-BE49-F238E27FC236}">
                    <a16:creationId xmlns:a16="http://schemas.microsoft.com/office/drawing/2014/main" id="{7A390E46-4BE9-C284-70F2-E237DF107C96}"/>
                  </a:ext>
                </a:extLst>
              </p:cNvPr>
              <p:cNvCxnSpPr>
                <a:cxnSpLocks/>
                <a:stCxn id="26" idx="1"/>
                <a:endCxn id="30" idx="3"/>
              </p:cNvCxnSpPr>
              <p:nvPr/>
            </p:nvCxnSpPr>
            <p:spPr>
              <a:xfrm rot="10800000" flipV="1">
                <a:off x="7862951" y="5148883"/>
                <a:ext cx="225551" cy="267623"/>
              </a:xfrm>
              <a:prstGeom prst="bentConnector3">
                <a:avLst>
                  <a:gd name="adj1" fmla="val 50000"/>
                </a:avLst>
              </a:prstGeom>
              <a:noFill/>
              <a:ln w="28575" cap="flat" cmpd="sng" algn="ctr">
                <a:solidFill>
                  <a:srgbClr val="1E1E1E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4B6C991-F31D-E3E5-4C0A-F1D6C0D8F212}"/>
                </a:ext>
              </a:extLst>
            </p:cNvPr>
            <p:cNvCxnSpPr>
              <a:cxnSpLocks/>
            </p:cNvCxnSpPr>
            <p:nvPr/>
          </p:nvCxnSpPr>
          <p:spPr>
            <a:xfrm>
              <a:off x="6234267" y="3837200"/>
              <a:ext cx="126839" cy="139588"/>
            </a:xfrm>
            <a:prstGeom prst="line">
              <a:avLst/>
            </a:prstGeom>
            <a:noFill/>
            <a:ln w="28575" cap="flat" cmpd="sng" algn="ctr">
              <a:solidFill>
                <a:srgbClr val="1E1E1E"/>
              </a:solidFill>
              <a:prstDash val="solid"/>
              <a:miter lim="800000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16425D6-7003-755A-BD0E-A0CB6329197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61824" y="3843881"/>
              <a:ext cx="122129" cy="118988"/>
            </a:xfrm>
            <a:prstGeom prst="line">
              <a:avLst/>
            </a:prstGeom>
            <a:noFill/>
            <a:ln w="28575" cap="flat" cmpd="sng" algn="ctr">
              <a:solidFill>
                <a:srgbClr val="1E1E1E"/>
              </a:solidFill>
              <a:prstDash val="solid"/>
              <a:miter lim="800000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AC9EA7-578C-6020-EF72-28AC760DC7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23377" y="3572472"/>
              <a:ext cx="122129" cy="118988"/>
            </a:xfrm>
            <a:prstGeom prst="line">
              <a:avLst/>
            </a:prstGeom>
            <a:noFill/>
            <a:ln w="28575" cap="flat" cmpd="sng" algn="ctr">
              <a:solidFill>
                <a:srgbClr val="1E1E1E"/>
              </a:solidFill>
              <a:prstDash val="solid"/>
              <a:miter lim="800000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B348227-F052-254A-EB8C-6CBA141E090A}"/>
                </a:ext>
              </a:extLst>
            </p:cNvPr>
            <p:cNvCxnSpPr>
              <a:cxnSpLocks/>
            </p:cNvCxnSpPr>
            <p:nvPr/>
          </p:nvCxnSpPr>
          <p:spPr>
            <a:xfrm>
              <a:off x="6621048" y="3437186"/>
              <a:ext cx="126839" cy="139588"/>
            </a:xfrm>
            <a:prstGeom prst="line">
              <a:avLst/>
            </a:prstGeom>
            <a:noFill/>
            <a:ln w="28575" cap="flat" cmpd="sng" algn="ctr">
              <a:solidFill>
                <a:srgbClr val="1E1E1E"/>
              </a:solidFill>
              <a:prstDash val="solid"/>
              <a:miter lim="800000"/>
            </a:ln>
            <a:effectLst/>
          </p:spPr>
        </p:cxnSp>
      </p:grpSp>
      <p:sp>
        <p:nvSpPr>
          <p:cNvPr id="32" name="Star: 5 Points 31">
            <a:extLst>
              <a:ext uri="{FF2B5EF4-FFF2-40B4-BE49-F238E27FC236}">
                <a16:creationId xmlns:a16="http://schemas.microsoft.com/office/drawing/2014/main" id="{7F48C5A9-E8FF-ECEB-F19C-7A343685A5BC}"/>
              </a:ext>
            </a:extLst>
          </p:cNvPr>
          <p:cNvSpPr/>
          <p:nvPr/>
        </p:nvSpPr>
        <p:spPr>
          <a:xfrm>
            <a:off x="6683141" y="1956472"/>
            <a:ext cx="2641607" cy="2641607"/>
          </a:xfrm>
          <a:prstGeom prst="star5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ijdelijke aanduiding voor inhoud 4">
            <a:extLst>
              <a:ext uri="{FF2B5EF4-FFF2-40B4-BE49-F238E27FC236}">
                <a16:creationId xmlns:a16="http://schemas.microsoft.com/office/drawing/2014/main" id="{D59D340E-A7A5-002B-B9E3-891CBAC71C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6430" y="5554433"/>
            <a:ext cx="6804259" cy="682812"/>
          </a:xfrm>
        </p:spPr>
        <p:txBody>
          <a:bodyPr>
            <a:normAutofit/>
          </a:bodyPr>
          <a:lstStyle/>
          <a:p>
            <a:pPr marL="0" indent="0">
              <a:buNone/>
              <a:defRPr/>
            </a:pPr>
            <a:r>
              <a:rPr lang="en-GB" dirty="0">
                <a:solidFill>
                  <a:srgbClr val="000000"/>
                </a:solidFill>
              </a:rPr>
              <a:t>It’s time to think about data modelling!</a:t>
            </a:r>
            <a:endParaRPr lang="en-GB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1795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r>
              <a:rPr lang="nl-NL" dirty="0"/>
              <a:t> or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?</a:t>
            </a:r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0933497" cy="4055123"/>
          </a:xfrm>
        </p:spPr>
        <p:txBody>
          <a:bodyPr>
            <a:normAutofit/>
          </a:bodyPr>
          <a:lstStyle/>
          <a:p>
            <a:pPr marL="0" indent="0">
              <a:buNone/>
              <a:defRPr/>
            </a:pPr>
            <a:r>
              <a:rPr lang="en-GB" dirty="0">
                <a:solidFill>
                  <a:srgbClr val="000000"/>
                </a:solidFill>
              </a:rPr>
              <a:t>You need to prepare an analysis due in a few days based on marketing campaigns effectiveness data. Data is stored in a network drive of your company and comes in every week by an automated email from a marketing agency that drives campaigns for your firm. The marketing agency generates and sends the Excel files in an automated way. 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F1A095-017D-037C-0F1D-7284738E36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04206" y="639754"/>
            <a:ext cx="714914" cy="714914"/>
          </a:xfrm>
          <a:prstGeom prst="rect">
            <a:avLst/>
          </a:prstGeom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50D2CD8-3553-AA93-D283-8F5F3CC850B3}"/>
              </a:ext>
            </a:extLst>
          </p:cNvPr>
          <p:cNvSpPr/>
          <p:nvPr/>
        </p:nvSpPr>
        <p:spPr>
          <a:xfrm>
            <a:off x="5465344" y="4735328"/>
            <a:ext cx="1089460" cy="903105"/>
          </a:xfrm>
          <a:custGeom>
            <a:avLst/>
            <a:gdLst>
              <a:gd name="connsiteX0" fmla="*/ 386080 w 386080"/>
              <a:gd name="connsiteY0" fmla="*/ 0 h 320040"/>
              <a:gd name="connsiteX1" fmla="*/ 322580 w 386080"/>
              <a:gd name="connsiteY1" fmla="*/ 0 h 320040"/>
              <a:gd name="connsiteX2" fmla="*/ 121920 w 386080"/>
              <a:gd name="connsiteY2" fmla="*/ 241300 h 320040"/>
              <a:gd name="connsiteX3" fmla="*/ 53340 w 386080"/>
              <a:gd name="connsiteY3" fmla="*/ 157480 h 320040"/>
              <a:gd name="connsiteX4" fmla="*/ 7620 w 386080"/>
              <a:gd name="connsiteY4" fmla="*/ 157480 h 320040"/>
              <a:gd name="connsiteX5" fmla="*/ 0 w 386080"/>
              <a:gd name="connsiteY5" fmla="*/ 172720 h 320040"/>
              <a:gd name="connsiteX6" fmla="*/ 121920 w 386080"/>
              <a:gd name="connsiteY6" fmla="*/ 320040 h 32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6080" h="320040">
                <a:moveTo>
                  <a:pt x="386080" y="0"/>
                </a:moveTo>
                <a:lnTo>
                  <a:pt x="322580" y="0"/>
                </a:lnTo>
                <a:lnTo>
                  <a:pt x="121920" y="241300"/>
                </a:lnTo>
                <a:lnTo>
                  <a:pt x="53340" y="157480"/>
                </a:lnTo>
                <a:lnTo>
                  <a:pt x="7620" y="157480"/>
                </a:lnTo>
                <a:lnTo>
                  <a:pt x="0" y="172720"/>
                </a:lnTo>
                <a:lnTo>
                  <a:pt x="121920" y="320040"/>
                </a:lnTo>
                <a:close/>
              </a:path>
            </a:pathLst>
          </a:custGeom>
          <a:solidFill>
            <a:srgbClr val="197278"/>
          </a:solidFill>
          <a:ln w="254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78373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use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s</a:t>
            </a:r>
            <a:r>
              <a:rPr lang="nl-NL" dirty="0"/>
              <a:t> or </a:t>
            </a:r>
            <a:r>
              <a:rPr lang="nl-NL" dirty="0" err="1"/>
              <a:t>not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?</a:t>
            </a:r>
          </a:p>
        </p:txBody>
      </p:sp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8"/>
            <a:ext cx="10933497" cy="4055123"/>
          </a:xfrm>
        </p:spPr>
        <p:txBody>
          <a:bodyPr>
            <a:normAutofit/>
          </a:bodyPr>
          <a:lstStyle/>
          <a:p>
            <a:pPr marL="0" indent="0">
              <a:buNone/>
              <a:defRPr/>
            </a:pPr>
            <a:r>
              <a:rPr lang="en-GB" dirty="0">
                <a:solidFill>
                  <a:srgbClr val="000000"/>
                </a:solidFill>
              </a:rPr>
              <a:t>You want to create a sales report from your company’s transactional data. Data is extracted using a SQL script by a Data Analyst once per month and stored as .csv files in a </a:t>
            </a:r>
            <a:r>
              <a:rPr lang="en-GB" dirty="0" err="1">
                <a:solidFill>
                  <a:srgbClr val="000000"/>
                </a:solidFill>
              </a:rPr>
              <a:t>Sharepoint</a:t>
            </a:r>
            <a:r>
              <a:rPr lang="en-GB" dirty="0">
                <a:solidFill>
                  <a:srgbClr val="000000"/>
                </a:solidFill>
              </a:rPr>
              <a:t> Folder, for Excel analyses of your team. So far there are </a:t>
            </a:r>
            <a:r>
              <a:rPr lang="en-GB" dirty="0" err="1">
                <a:solidFill>
                  <a:srgbClr val="000000"/>
                </a:solidFill>
              </a:rPr>
              <a:t>are</a:t>
            </a:r>
            <a:r>
              <a:rPr lang="en-GB" dirty="0">
                <a:solidFill>
                  <a:srgbClr val="000000"/>
                </a:solidFill>
              </a:rPr>
              <a:t> 300 million rows corresponding to 2 years of data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2F1A095-017D-037C-0F1D-7284738E362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04206" y="639754"/>
            <a:ext cx="714914" cy="714914"/>
          </a:xfrm>
          <a:prstGeom prst="rect">
            <a:avLst/>
          </a:prstGeom>
        </p:spPr>
      </p:pic>
      <p:sp>
        <p:nvSpPr>
          <p:cNvPr id="2" name="Plus Sign 1">
            <a:extLst>
              <a:ext uri="{FF2B5EF4-FFF2-40B4-BE49-F238E27FC236}">
                <a16:creationId xmlns:a16="http://schemas.microsoft.com/office/drawing/2014/main" id="{346DEFCB-3FB3-E693-4105-FAA57AD51F54}"/>
              </a:ext>
            </a:extLst>
          </p:cNvPr>
          <p:cNvSpPr/>
          <p:nvPr/>
        </p:nvSpPr>
        <p:spPr>
          <a:xfrm rot="2671963">
            <a:off x="5165096" y="4542413"/>
            <a:ext cx="1652011" cy="1652011"/>
          </a:xfrm>
          <a:prstGeom prst="mathPlus">
            <a:avLst>
              <a:gd name="adj1" fmla="val 9183"/>
            </a:avLst>
          </a:prstGeom>
          <a:solidFill>
            <a:srgbClr val="B600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020222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BA6B785E-0482-4DE9-6411-B9F0011702EC}"/>
              </a:ext>
            </a:extLst>
          </p:cNvPr>
          <p:cNvSpPr/>
          <p:nvPr/>
        </p:nvSpPr>
        <p:spPr>
          <a:xfrm>
            <a:off x="10112188" y="71718"/>
            <a:ext cx="1948748" cy="849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A46512-9C20-0113-82A3-9BD1442FF1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409" b="24500"/>
          <a:stretch/>
        </p:blipFill>
        <p:spPr>
          <a:xfrm>
            <a:off x="1598545" y="66238"/>
            <a:ext cx="3767164" cy="79641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4725450-C220-AD50-15F1-81D9DA7A62B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1665" b="42731"/>
          <a:stretch/>
        </p:blipFill>
        <p:spPr>
          <a:xfrm>
            <a:off x="6586676" y="107535"/>
            <a:ext cx="4665952" cy="728041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C033C121-0D0A-F331-64B5-45EC74BE782D}"/>
              </a:ext>
            </a:extLst>
          </p:cNvPr>
          <p:cNvSpPr txBox="1"/>
          <p:nvPr/>
        </p:nvSpPr>
        <p:spPr>
          <a:xfrm>
            <a:off x="67628" y="107535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Platinum partners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C3B49A3-FFC2-07C2-D59A-ED5404A1AE89}"/>
              </a:ext>
            </a:extLst>
          </p:cNvPr>
          <p:cNvCxnSpPr/>
          <p:nvPr/>
        </p:nvCxnSpPr>
        <p:spPr>
          <a:xfrm>
            <a:off x="0" y="920799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A619FB7-7286-888D-0D77-A05D2D680A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2549" y="1109460"/>
            <a:ext cx="2461152" cy="64701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580D8A2-A060-1388-C921-DBA6B44239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79713" y="1081996"/>
            <a:ext cx="2520003" cy="701939"/>
          </a:xfrm>
          <a:prstGeom prst="rect">
            <a:avLst/>
          </a:prstGeom>
        </p:spPr>
      </p:pic>
      <p:pic>
        <p:nvPicPr>
          <p:cNvPr id="19" name="Afbeelding 18" descr="Afbeelding met Lettertype, typografie, Graphics, tekst&#10;&#10;Automatisch gegenereerde beschrijving">
            <a:extLst>
              <a:ext uri="{FF2B5EF4-FFF2-40B4-BE49-F238E27FC236}">
                <a16:creationId xmlns:a16="http://schemas.microsoft.com/office/drawing/2014/main" id="{A831BC41-03F3-2CA9-393C-237251A5E2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054" y="1148378"/>
            <a:ext cx="1985276" cy="569175"/>
          </a:xfrm>
          <a:prstGeom prst="rect">
            <a:avLst/>
          </a:prstGeom>
        </p:spPr>
      </p:pic>
      <p:sp>
        <p:nvSpPr>
          <p:cNvPr id="20" name="Tekstvak 19">
            <a:extLst>
              <a:ext uri="{FF2B5EF4-FFF2-40B4-BE49-F238E27FC236}">
                <a16:creationId xmlns:a16="http://schemas.microsoft.com/office/drawing/2014/main" id="{BBCC6CC4-E3D2-9D47-04B2-8B0AD19BFE75}"/>
              </a:ext>
            </a:extLst>
          </p:cNvPr>
          <p:cNvSpPr txBox="1"/>
          <p:nvPr/>
        </p:nvSpPr>
        <p:spPr>
          <a:xfrm>
            <a:off x="67628" y="1012642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Goud partners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E5775597-B16D-66C8-0585-F5115C1EBCCE}"/>
              </a:ext>
            </a:extLst>
          </p:cNvPr>
          <p:cNvSpPr txBox="1"/>
          <p:nvPr/>
        </p:nvSpPr>
        <p:spPr>
          <a:xfrm>
            <a:off x="67628" y="1974481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Zilver partners</a:t>
            </a:r>
          </a:p>
        </p:txBody>
      </p: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A4529CD5-2F5D-3965-3836-316ED2B1F224}"/>
              </a:ext>
            </a:extLst>
          </p:cNvPr>
          <p:cNvCxnSpPr/>
          <p:nvPr/>
        </p:nvCxnSpPr>
        <p:spPr>
          <a:xfrm>
            <a:off x="0" y="1886666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120E498A-9D96-F278-8F94-FFBA44908B4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98545" y="1889173"/>
            <a:ext cx="2470847" cy="921273"/>
          </a:xfrm>
          <a:prstGeom prst="rect">
            <a:avLst/>
          </a:prstGeom>
        </p:spPr>
      </p:pic>
      <p:pic>
        <p:nvPicPr>
          <p:cNvPr id="28" name="Afbeelding 27" descr="Afbeelding met Lettertype, Graphics, tekst, grafische vormgeving&#10;&#10;Automatisch gegenereerde beschrijving">
            <a:extLst>
              <a:ext uri="{FF2B5EF4-FFF2-40B4-BE49-F238E27FC236}">
                <a16:creationId xmlns:a16="http://schemas.microsoft.com/office/drawing/2014/main" id="{C27C52F9-234C-7D21-E921-17A884A27CE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691" y="1982082"/>
            <a:ext cx="1764045" cy="73545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04B3C470-5C48-05DA-9CB4-A9BEC2AA92D5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12222" t="36079" r="12222" b="35947"/>
          <a:stretch/>
        </p:blipFill>
        <p:spPr>
          <a:xfrm>
            <a:off x="9600244" y="1982081"/>
            <a:ext cx="1986421" cy="735456"/>
          </a:xfrm>
          <a:prstGeom prst="rect">
            <a:avLst/>
          </a:prstGeom>
        </p:spPr>
      </p:pic>
      <p:cxnSp>
        <p:nvCxnSpPr>
          <p:cNvPr id="31" name="Rechte verbindingslijn 30">
            <a:extLst>
              <a:ext uri="{FF2B5EF4-FFF2-40B4-BE49-F238E27FC236}">
                <a16:creationId xmlns:a16="http://schemas.microsoft.com/office/drawing/2014/main" id="{5A58A870-BE78-4304-FB44-82F620A9A93C}"/>
              </a:ext>
            </a:extLst>
          </p:cNvPr>
          <p:cNvCxnSpPr/>
          <p:nvPr/>
        </p:nvCxnSpPr>
        <p:spPr>
          <a:xfrm>
            <a:off x="0" y="2820268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kstvak 31">
            <a:extLst>
              <a:ext uri="{FF2B5EF4-FFF2-40B4-BE49-F238E27FC236}">
                <a16:creationId xmlns:a16="http://schemas.microsoft.com/office/drawing/2014/main" id="{B0BFFB9E-561A-A56B-2797-A16C36EC0D8C}"/>
              </a:ext>
            </a:extLst>
          </p:cNvPr>
          <p:cNvSpPr txBox="1"/>
          <p:nvPr/>
        </p:nvSpPr>
        <p:spPr>
          <a:xfrm>
            <a:off x="67628" y="3108596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Brons partner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E31F379-2A34-E5B4-F957-C17E1224BE2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99927" y="2961837"/>
            <a:ext cx="682373" cy="368850"/>
          </a:xfrm>
          <a:prstGeom prst="rect">
            <a:avLst/>
          </a:prstGeom>
        </p:spPr>
      </p:pic>
      <p:pic>
        <p:nvPicPr>
          <p:cNvPr id="36" name="Afbeelding 35" descr="Afbeelding met Lettertype, typografie, Graphics, tekst&#10;&#10;Automatisch gegenereerde beschrijving">
            <a:extLst>
              <a:ext uri="{FF2B5EF4-FFF2-40B4-BE49-F238E27FC236}">
                <a16:creationId xmlns:a16="http://schemas.microsoft.com/office/drawing/2014/main" id="{5DF01228-2F86-AA52-A385-6DFDE245107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0770" y="3108596"/>
            <a:ext cx="1337431" cy="219751"/>
          </a:xfrm>
          <a:prstGeom prst="rect">
            <a:avLst/>
          </a:prstGeom>
        </p:spPr>
      </p:pic>
      <p:pic>
        <p:nvPicPr>
          <p:cNvPr id="38" name="Afbeelding 37" descr="Afbeelding met Lettertype, Graphics, logo, ontwerp&#10;&#10;Automatisch gegenereerde beschrijving">
            <a:extLst>
              <a:ext uri="{FF2B5EF4-FFF2-40B4-BE49-F238E27FC236}">
                <a16:creationId xmlns:a16="http://schemas.microsoft.com/office/drawing/2014/main" id="{CE30AA9C-A035-56D9-62C7-17E3FDB4376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597" y="2906836"/>
            <a:ext cx="884228" cy="479694"/>
          </a:xfrm>
          <a:prstGeom prst="rect">
            <a:avLst/>
          </a:prstGeom>
        </p:spPr>
      </p:pic>
      <p:pic>
        <p:nvPicPr>
          <p:cNvPr id="40" name="Afbeelding 39" descr="Afbeelding met Lettertype, Graphics, tekst, grafische vormgeving&#10;&#10;Automatisch gegenereerde beschrijving">
            <a:extLst>
              <a:ext uri="{FF2B5EF4-FFF2-40B4-BE49-F238E27FC236}">
                <a16:creationId xmlns:a16="http://schemas.microsoft.com/office/drawing/2014/main" id="{3F9E3CED-F584-977D-10D0-70DEE66AF3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27" y="3049708"/>
            <a:ext cx="854809" cy="295622"/>
          </a:xfrm>
          <a:prstGeom prst="rect">
            <a:avLst/>
          </a:prstGeom>
        </p:spPr>
      </p:pic>
      <p:pic>
        <p:nvPicPr>
          <p:cNvPr id="42" name="Afbeelding 41" descr="Afbeelding met Graphics, Lettertype, grafische vormgeving, schermopname&#10;&#10;Automatisch gegenereerde beschrijving">
            <a:extLst>
              <a:ext uri="{FF2B5EF4-FFF2-40B4-BE49-F238E27FC236}">
                <a16:creationId xmlns:a16="http://schemas.microsoft.com/office/drawing/2014/main" id="{705E362F-52CC-943E-5D72-D502C7F8D7D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27" y="3584059"/>
            <a:ext cx="976758" cy="339622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BB2B881-EFF3-86B1-DBB3-F12C76A27CB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195822" y="3544618"/>
            <a:ext cx="1228798" cy="390437"/>
          </a:xfrm>
          <a:prstGeom prst="rect">
            <a:avLst/>
          </a:prstGeom>
        </p:spPr>
      </p:pic>
      <p:pic>
        <p:nvPicPr>
          <p:cNvPr id="46" name="Afbeelding 45" descr="Afbeelding met tekst, Lettertype, Graphics, schermopname&#10;&#10;Automatisch gegenereerde beschrijving">
            <a:extLst>
              <a:ext uri="{FF2B5EF4-FFF2-40B4-BE49-F238E27FC236}">
                <a16:creationId xmlns:a16="http://schemas.microsoft.com/office/drawing/2014/main" id="{16FF4C20-27CE-4760-DBC9-E7AD76F12F8F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32334" r="12196" b="30934"/>
          <a:stretch/>
        </p:blipFill>
        <p:spPr>
          <a:xfrm>
            <a:off x="1696894" y="3508308"/>
            <a:ext cx="1300874" cy="437219"/>
          </a:xfrm>
          <a:prstGeom prst="rect">
            <a:avLst/>
          </a:prstGeom>
        </p:spPr>
      </p:pic>
      <p:pic>
        <p:nvPicPr>
          <p:cNvPr id="48" name="Afbeelding 47" descr="Afbeelding met Graphics, Lettertype, grafische vormgeving, tekst&#10;&#10;Automatisch gegenereerde beschrijving">
            <a:extLst>
              <a:ext uri="{FF2B5EF4-FFF2-40B4-BE49-F238E27FC236}">
                <a16:creationId xmlns:a16="http://schemas.microsoft.com/office/drawing/2014/main" id="{EFDCEB3E-0E53-D67F-F670-C80852C79792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0" t="22029" r="12758" b="30872"/>
          <a:stretch/>
        </p:blipFill>
        <p:spPr>
          <a:xfrm>
            <a:off x="4562449" y="3475340"/>
            <a:ext cx="1213734" cy="479694"/>
          </a:xfrm>
          <a:prstGeom prst="rect">
            <a:avLst/>
          </a:prstGeom>
        </p:spPr>
      </p:pic>
      <p:cxnSp>
        <p:nvCxnSpPr>
          <p:cNvPr id="49" name="Rechte verbindingslijn 48">
            <a:extLst>
              <a:ext uri="{FF2B5EF4-FFF2-40B4-BE49-F238E27FC236}">
                <a16:creationId xmlns:a16="http://schemas.microsoft.com/office/drawing/2014/main" id="{8645E9BF-43D0-4B34-2479-88FE1827A9E7}"/>
              </a:ext>
            </a:extLst>
          </p:cNvPr>
          <p:cNvCxnSpPr/>
          <p:nvPr/>
        </p:nvCxnSpPr>
        <p:spPr>
          <a:xfrm>
            <a:off x="0" y="4155292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kstvak 49">
            <a:extLst>
              <a:ext uri="{FF2B5EF4-FFF2-40B4-BE49-F238E27FC236}">
                <a16:creationId xmlns:a16="http://schemas.microsoft.com/office/drawing/2014/main" id="{BE8CE4B8-A71E-6E4B-82A7-FB2D3ACC0CC7}"/>
              </a:ext>
            </a:extLst>
          </p:cNvPr>
          <p:cNvSpPr txBox="1"/>
          <p:nvPr/>
        </p:nvSpPr>
        <p:spPr>
          <a:xfrm>
            <a:off x="67628" y="4431096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Community partners</a:t>
            </a:r>
          </a:p>
        </p:txBody>
      </p:sp>
      <p:pic>
        <p:nvPicPr>
          <p:cNvPr id="52" name="Afbeelding 51" descr="Afbeelding met Lettertype, schermopname, Graphics, ontwerp&#10;&#10;Automatisch gegenereerde beschrijving">
            <a:extLst>
              <a:ext uri="{FF2B5EF4-FFF2-40B4-BE49-F238E27FC236}">
                <a16:creationId xmlns:a16="http://schemas.microsoft.com/office/drawing/2014/main" id="{D0D3F962-3CB0-12E5-C953-EE7BAE11B2E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363" y="4229248"/>
            <a:ext cx="1737940" cy="579314"/>
          </a:xfrm>
          <a:prstGeom prst="rect">
            <a:avLst/>
          </a:prstGeom>
        </p:spPr>
      </p:pic>
      <p:pic>
        <p:nvPicPr>
          <p:cNvPr id="54" name="Afbeelding 53" descr="Afbeelding met Graphics, grafische vormgeving, schermopname, ontwerp&#10;&#10;Automatisch gegenereerde beschrijving">
            <a:extLst>
              <a:ext uri="{FF2B5EF4-FFF2-40B4-BE49-F238E27FC236}">
                <a16:creationId xmlns:a16="http://schemas.microsoft.com/office/drawing/2014/main" id="{78B960F1-F13D-4475-45A6-D23D48D9A87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8549" y="4257744"/>
            <a:ext cx="1261872" cy="522322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9DA0D8BA-25B2-8045-A7C7-93191936E0D4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 t="31867" b="34203"/>
          <a:stretch/>
        </p:blipFill>
        <p:spPr>
          <a:xfrm>
            <a:off x="6329084" y="4264938"/>
            <a:ext cx="2245249" cy="507935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27C0BCFA-494B-2746-39BB-AA21DE9159BD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l="7033" t="38160" r="6079" b="38000"/>
          <a:stretch/>
        </p:blipFill>
        <p:spPr>
          <a:xfrm>
            <a:off x="9278201" y="4252382"/>
            <a:ext cx="2590337" cy="533046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353C86F7-81BC-A6BD-3CB7-6DFB1F7D3B2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553054" y="5012739"/>
            <a:ext cx="2315484" cy="359682"/>
          </a:xfrm>
          <a:prstGeom prst="rect">
            <a:avLst/>
          </a:prstGeom>
        </p:spPr>
      </p:pic>
      <p:pic>
        <p:nvPicPr>
          <p:cNvPr id="62" name="Afbeelding 61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498229BB-2429-DC97-817E-B477DE115ED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701" y="4930182"/>
            <a:ext cx="1631568" cy="524797"/>
          </a:xfrm>
          <a:prstGeom prst="rect">
            <a:avLst/>
          </a:prstGeom>
        </p:spPr>
      </p:pic>
      <p:pic>
        <p:nvPicPr>
          <p:cNvPr id="64" name="Afbeelding 63" descr="Afbeelding met tekst, Lettertype, Graphics, logo&#10;&#10;Automatisch gegenereerde beschrijving">
            <a:extLst>
              <a:ext uri="{FF2B5EF4-FFF2-40B4-BE49-F238E27FC236}">
                <a16:creationId xmlns:a16="http://schemas.microsoft.com/office/drawing/2014/main" id="{0B0724BC-D9D7-7CE3-2DF8-68C9A1050241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676" y="4868193"/>
            <a:ext cx="1730064" cy="648774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5122EDB4-FF50-CB8B-6143-353367DE18E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690363" y="4925619"/>
            <a:ext cx="1631568" cy="533922"/>
          </a:xfrm>
          <a:prstGeom prst="rect">
            <a:avLst/>
          </a:prstGeom>
        </p:spPr>
      </p:pic>
      <p:pic>
        <p:nvPicPr>
          <p:cNvPr id="68" name="Afbeelding 67" descr="Afbeelding met tekst, Lettertype, logo, Graphics&#10;&#10;Automatisch gegenereerde beschrijving">
            <a:extLst>
              <a:ext uri="{FF2B5EF4-FFF2-40B4-BE49-F238E27FC236}">
                <a16:creationId xmlns:a16="http://schemas.microsoft.com/office/drawing/2014/main" id="{B87F7FA3-CDB4-9777-D342-090B91286476}"/>
              </a:ext>
            </a:extLst>
          </p:cNvPr>
          <p:cNvPicPr>
            <a:picLocks noChangeAspect="1"/>
          </p:cNvPicPr>
          <p:nvPr/>
        </p:nvPicPr>
        <p:blipFill rotWithShape="1"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78" b="18464"/>
          <a:stretch/>
        </p:blipFill>
        <p:spPr>
          <a:xfrm>
            <a:off x="4069392" y="5857579"/>
            <a:ext cx="2040186" cy="445246"/>
          </a:xfrm>
          <a:prstGeom prst="rect">
            <a:avLst/>
          </a:prstGeom>
        </p:spPr>
      </p:pic>
      <p:pic>
        <p:nvPicPr>
          <p:cNvPr id="70" name="Afbeelding 69" descr="Afbeelding met tekst, Lettertype, schermopname, Graphics&#10;&#10;Automatisch gegenereerde beschrijving">
            <a:extLst>
              <a:ext uri="{FF2B5EF4-FFF2-40B4-BE49-F238E27FC236}">
                <a16:creationId xmlns:a16="http://schemas.microsoft.com/office/drawing/2014/main" id="{225CE224-217E-B15A-39CD-3A814B7E31C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363" y="5725822"/>
            <a:ext cx="1528325" cy="708761"/>
          </a:xfrm>
          <a:prstGeom prst="rect">
            <a:avLst/>
          </a:prstGeom>
        </p:spPr>
      </p:pic>
      <p:pic>
        <p:nvPicPr>
          <p:cNvPr id="74" name="Afbeelding 73" descr="Afbeelding met Lettertype, symbool, Graphics, logo&#10;&#10;Automatisch gegenereerde beschrijving">
            <a:extLst>
              <a:ext uri="{FF2B5EF4-FFF2-40B4-BE49-F238E27FC236}">
                <a16:creationId xmlns:a16="http://schemas.microsoft.com/office/drawing/2014/main" id="{9524B1F2-46EE-091D-F62D-9F0E49C1155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410" y="5875718"/>
            <a:ext cx="2167128" cy="408968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92DE153F-54E7-F973-2517-447BBBC62E7C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482017" y="5841935"/>
            <a:ext cx="1939383" cy="476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666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78A0FA-A02D-E816-61CE-77FFE47D91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449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8A0FA-A02D-E816-61CE-77FFE47D9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3090302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78A0FA-A02D-E816-61CE-77FFE47D91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17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8A0FA-A02D-E816-61CE-77FFE47D9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 err="1"/>
              <a:t>Thank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!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02816A-6CFA-3A18-F194-E49C2D4D141C}"/>
              </a:ext>
            </a:extLst>
          </p:cNvPr>
          <p:cNvSpPr txBox="1">
            <a:spLocks/>
          </p:cNvSpPr>
          <p:nvPr/>
        </p:nvSpPr>
        <p:spPr bwMode="gray">
          <a:xfrm>
            <a:off x="3289300" y="2224026"/>
            <a:ext cx="6005620" cy="20727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Grzegorz Strzymiń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https://www.linkedin.com/in/grzegorz-strzyminski/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grzegorz.strzyminski@kearney.com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7" name="Picture Placeholder 12" descr="A person in a suit&#10;&#10;Description automatically generated">
            <a:extLst>
              <a:ext uri="{FF2B5EF4-FFF2-40B4-BE49-F238E27FC236}">
                <a16:creationId xmlns:a16="http://schemas.microsoft.com/office/drawing/2014/main" id="{0DFEF9ED-46FF-DDDC-6D20-2534F275868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3414" r="11162" b="26127"/>
          <a:stretch/>
        </p:blipFill>
        <p:spPr>
          <a:xfrm>
            <a:off x="948579" y="2224026"/>
            <a:ext cx="1803497" cy="231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260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26FE342-87B7-A648-C038-40C65EFC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611" y="1332706"/>
            <a:ext cx="5257800" cy="1325563"/>
          </a:xfrm>
        </p:spPr>
        <p:txBody>
          <a:bodyPr/>
          <a:lstStyle/>
          <a:p>
            <a:pPr algn="ctr"/>
            <a:r>
              <a:rPr lang="nl-NL" dirty="0" err="1"/>
              <a:t>Session</a:t>
            </a:r>
            <a:r>
              <a:rPr lang="nl-NL" dirty="0"/>
              <a:t> </a:t>
            </a:r>
            <a:r>
              <a:rPr lang="nl-NL" dirty="0" err="1"/>
              <a:t>evaluation</a:t>
            </a:r>
            <a:endParaRPr lang="nl-NL" dirty="0"/>
          </a:p>
        </p:txBody>
      </p:sp>
      <p:pic>
        <p:nvPicPr>
          <p:cNvPr id="3" name="Tijdelijke aanduiding voor inhoud 2">
            <a:extLst>
              <a:ext uri="{FF2B5EF4-FFF2-40B4-BE49-F238E27FC236}">
                <a16:creationId xmlns:a16="http://schemas.microsoft.com/office/drawing/2014/main" id="{D9811995-11BE-4A5F-1BA1-C77131ECA1F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08511" y="2477294"/>
            <a:ext cx="3048000" cy="3048000"/>
          </a:xfrm>
        </p:spPr>
      </p:pic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69DA9BB0-4EAA-EC63-F821-5028650B709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33447" y="2477294"/>
            <a:ext cx="3048000" cy="3048000"/>
          </a:xfrm>
        </p:spPr>
      </p:pic>
      <p:sp>
        <p:nvSpPr>
          <p:cNvPr id="9" name="Titel 3">
            <a:extLst>
              <a:ext uri="{FF2B5EF4-FFF2-40B4-BE49-F238E27FC236}">
                <a16:creationId xmlns:a16="http://schemas.microsoft.com/office/drawing/2014/main" id="{D98311A2-297F-2216-52B7-5243C23DB863}"/>
              </a:ext>
            </a:extLst>
          </p:cNvPr>
          <p:cNvSpPr txBox="1">
            <a:spLocks/>
          </p:cNvSpPr>
          <p:nvPr/>
        </p:nvSpPr>
        <p:spPr>
          <a:xfrm>
            <a:off x="6528547" y="1332706"/>
            <a:ext cx="5257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dirty="0"/>
              <a:t>Event </a:t>
            </a:r>
            <a:r>
              <a:rPr lang="nl-NL" dirty="0" err="1"/>
              <a:t>evalu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9404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42338B2-C5B8-0084-3704-CA9EA764A2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33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2338B2-C5B8-0084-3704-CA9EA764A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941" y="773498"/>
            <a:ext cx="8388657" cy="1325563"/>
          </a:xfrm>
        </p:spPr>
        <p:txBody>
          <a:bodyPr vert="horz"/>
          <a:lstStyle/>
          <a:p>
            <a:r>
              <a:rPr lang="nl-NL" dirty="0"/>
              <a:t>Grzegorz (Greg) Strzymiński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8336" y="2099061"/>
            <a:ext cx="8145262" cy="4399394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/>
              <a:t>Senior BI Developer at </a:t>
            </a:r>
            <a:r>
              <a:rPr lang="en-US" sz="2400" b="1" dirty="0"/>
              <a:t>Kearney</a:t>
            </a:r>
            <a:r>
              <a:rPr lang="en-US" sz="2400" dirty="0"/>
              <a:t> in Warsaw, Poland</a:t>
            </a:r>
            <a:endParaRPr lang="en-GB" sz="2400" dirty="0"/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2400" dirty="0"/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/>
              <a:t>Developing end-to-end reporting and analysis solutions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/>
              <a:t>Designing data models and pipelines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dirty="0"/>
              <a:t>DAX fan</a:t>
            </a:r>
            <a:endParaRPr lang="en-GB" sz="2400" dirty="0"/>
          </a:p>
          <a:p>
            <a:pPr marL="457200" indent="-457200">
              <a:buFont typeface="+mj-lt"/>
              <a:buAutoNum type="arabicPeriod"/>
            </a:pPr>
            <a:endParaRPr lang="nl-NL" sz="2000" dirty="0"/>
          </a:p>
        </p:txBody>
      </p:sp>
      <p:pic>
        <p:nvPicPr>
          <p:cNvPr id="14" name="Picture Placeholder 12" descr="A person in a suit&#10;&#10;Description automatically generated">
            <a:extLst>
              <a:ext uri="{FF2B5EF4-FFF2-40B4-BE49-F238E27FC236}">
                <a16:creationId xmlns:a16="http://schemas.microsoft.com/office/drawing/2014/main" id="{B6008CF2-9F4B-6DD2-C072-372795FFE7B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3414" r="11162" b="26127"/>
          <a:stretch/>
        </p:blipFill>
        <p:spPr>
          <a:xfrm>
            <a:off x="571870" y="1219070"/>
            <a:ext cx="2474470" cy="318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0168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66385-0601-F4EC-9AA0-FA38F6488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72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6385-0601-F4EC-9AA0-FA38F6488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Agenda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(body)"/>
              </a:rPr>
              <a:t>Custom functions in Power Query in a nutshel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(body)"/>
              </a:rPr>
              <a:t>Use-cases for Power Query custom fun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  <a:p>
            <a:pPr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Live demos</a:t>
            </a:r>
          </a:p>
          <a:p>
            <a:pPr>
              <a:defRPr/>
            </a:pPr>
            <a:endParaRPr lang="en-US" sz="2000" dirty="0">
              <a:solidFill>
                <a:sysClr val="windowText" lastClr="000000"/>
              </a:solidFill>
              <a:latin typeface="Segoe UI (body)"/>
            </a:endParaRPr>
          </a:p>
          <a:p>
            <a:pPr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Limitations and considerations</a:t>
            </a:r>
            <a:endParaRPr lang="nl-NL" dirty="0">
              <a:solidFill>
                <a:sysClr val="windowText" lastClr="000000"/>
              </a:solidFill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(body)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92561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66385-0601-F4EC-9AA0-FA38F6488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22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6385-0601-F4EC-9AA0-FA38F6488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sessio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: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Equipped with knowledge on how to recognize use-cases for automation using Power Query custom fun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Able to create custom functions to handle various scenario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Familiar with methods to debug and optimize custom function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(body)"/>
            </a:endParaRPr>
          </a:p>
          <a:p>
            <a:pPr marL="457200" indent="-457200">
              <a:buFont typeface="+mj-lt"/>
              <a:buAutoNum type="arabicPeriod"/>
            </a:pPr>
            <a:endParaRPr lang="nl-NL" sz="2000" dirty="0">
              <a:latin typeface="Segoe U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174468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042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A </a:t>
            </a:r>
            <a:r>
              <a:rPr lang="nl-NL" dirty="0" err="1"/>
              <a:t>function</a:t>
            </a:r>
            <a:endParaRPr lang="nl-NL" dirty="0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BDDFF876-BEAE-DC85-70A6-367509BA298E}"/>
              </a:ext>
            </a:extLst>
          </p:cNvPr>
          <p:cNvSpPr txBox="1"/>
          <p:nvPr/>
        </p:nvSpPr>
        <p:spPr>
          <a:xfrm>
            <a:off x="1003299" y="2533225"/>
            <a:ext cx="923965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6000" dirty="0">
                <a:solidFill>
                  <a:srgbClr val="000000"/>
                </a:solidFill>
              </a:rPr>
              <a:t>Y             =           F(X)</a:t>
            </a:r>
            <a:endParaRPr lang="en-GB" sz="5400" dirty="0">
              <a:solidFill>
                <a:srgbClr val="000000"/>
              </a:solidFill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D10D4010-0A78-17BE-E4A4-2BD81E7DE970}"/>
              </a:ext>
            </a:extLst>
          </p:cNvPr>
          <p:cNvSpPr txBox="1"/>
          <p:nvPr/>
        </p:nvSpPr>
        <p:spPr>
          <a:xfrm>
            <a:off x="494951" y="5326616"/>
            <a:ext cx="9613784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800" dirty="0">
                <a:solidFill>
                  <a:srgbClr val="000000"/>
                </a:solidFill>
              </a:rPr>
              <a:t>Outcome		          	     Function	        Input        </a:t>
            </a:r>
          </a:p>
        </p:txBody>
      </p:sp>
      <p:sp>
        <p:nvSpPr>
          <p:cNvPr id="17" name="Arrow: Up 16">
            <a:extLst>
              <a:ext uri="{FF2B5EF4-FFF2-40B4-BE49-F238E27FC236}">
                <a16:creationId xmlns:a16="http://schemas.microsoft.com/office/drawing/2014/main" id="{A841F27E-63CE-3DCD-8DA9-6BAA13BC4F77}"/>
              </a:ext>
            </a:extLst>
          </p:cNvPr>
          <p:cNvSpPr/>
          <p:nvPr/>
        </p:nvSpPr>
        <p:spPr>
          <a:xfrm>
            <a:off x="1091500" y="3493779"/>
            <a:ext cx="241301" cy="1761798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B80322B8-6E06-BA37-983E-E296F8760F72}"/>
              </a:ext>
            </a:extLst>
          </p:cNvPr>
          <p:cNvSpPr/>
          <p:nvPr/>
        </p:nvSpPr>
        <p:spPr>
          <a:xfrm rot="1134267">
            <a:off x="6558713" y="3230296"/>
            <a:ext cx="255944" cy="1913597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57008BEA-8F80-7BB7-0B17-593F78149C86}"/>
              </a:ext>
            </a:extLst>
          </p:cNvPr>
          <p:cNvSpPr/>
          <p:nvPr/>
        </p:nvSpPr>
        <p:spPr>
          <a:xfrm rot="19799760">
            <a:off x="8223849" y="3149497"/>
            <a:ext cx="268476" cy="2043481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7D8F5BB-793A-C0BD-16C0-3AC44D2665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40437" y="637969"/>
            <a:ext cx="822277" cy="82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3910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088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A </a:t>
            </a:r>
            <a:r>
              <a:rPr lang="nl-NL" dirty="0" err="1"/>
              <a:t>function</a:t>
            </a:r>
            <a:endParaRPr lang="nl-NL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9" name="TextBox 1">
                <a:extLst>
                  <a:ext uri="{FF2B5EF4-FFF2-40B4-BE49-F238E27FC236}">
                    <a16:creationId xmlns:a16="http://schemas.microsoft.com/office/drawing/2014/main" id="{BDDFF876-BEAE-DC85-70A6-367509BA298E}"/>
                  </a:ext>
                </a:extLst>
              </p:cNvPr>
              <p:cNvSpPr txBox="1"/>
              <p:nvPr/>
            </p:nvSpPr>
            <p:spPr>
              <a:xfrm>
                <a:off x="1003299" y="2533225"/>
                <a:ext cx="4466323" cy="84978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en-GB" sz="6000" dirty="0">
                    <a:solidFill>
                      <a:srgbClr val="000000"/>
                    </a:solidFill>
                  </a:rPr>
                  <a:t>Y     =  	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GB" sz="6000">
                            <a:solidFill>
                              <a:srgbClr val="000000"/>
                            </a:solidFill>
                          </a:rPr>
                        </m:ctrlPr>
                      </m:sSupPr>
                      <m:e>
                        <m:r>
                          <a:rPr lang="en-US" sz="6000">
                            <a:solidFill>
                              <a:srgbClr val="000000"/>
                            </a:solidFill>
                          </a:rPr>
                          <m:t>𝑥</m:t>
                        </m:r>
                      </m:e>
                      <m:sup>
                        <m:r>
                          <a:rPr lang="en-US" sz="6000">
                            <a:solidFill>
                              <a:srgbClr val="000000"/>
                            </a:solidFill>
                          </a:rPr>
                          <m:t>2</m:t>
                        </m:r>
                      </m:sup>
                    </m:sSup>
                  </m:oMath>
                </a14:m>
                <a:endParaRPr lang="en-GB" sz="6000" dirty="0">
                  <a:solidFill>
                    <a:srgbClr val="000000"/>
                  </a:solidFill>
                </a:endParaRPr>
              </a:p>
            </p:txBody>
          </p:sp>
        </mc:Choice>
        <mc:Fallback>
          <p:sp>
            <p:nvSpPr>
              <p:cNvPr id="9" name="TextBox 1">
                <a:extLst>
                  <a:ext uri="{FF2B5EF4-FFF2-40B4-BE49-F238E27FC236}">
                    <a16:creationId xmlns:a16="http://schemas.microsoft.com/office/drawing/2014/main" id="{BDDFF876-BEAE-DC85-70A6-367509BA29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03299" y="2533225"/>
                <a:ext cx="4466323" cy="849784"/>
              </a:xfrm>
              <a:prstGeom prst="rect">
                <a:avLst/>
              </a:prstGeom>
              <a:blipFill>
                <a:blip r:embed="rId5"/>
                <a:stretch>
                  <a:fillRect l="-10383" t="-35971" b="-5323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" name="Graphic 1">
            <a:extLst>
              <a:ext uri="{FF2B5EF4-FFF2-40B4-BE49-F238E27FC236}">
                <a16:creationId xmlns:a16="http://schemas.microsoft.com/office/drawing/2014/main" id="{D220D3E8-0450-5626-9B7E-96172B1166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0437" y="637969"/>
            <a:ext cx="822277" cy="822277"/>
          </a:xfrm>
          <a:prstGeom prst="rect">
            <a:avLst/>
          </a:prstGeom>
        </p:spPr>
      </p:pic>
      <p:sp>
        <p:nvSpPr>
          <p:cNvPr id="6" name="Tijdelijke aanduiding voor inhoud 4">
            <a:extLst>
              <a:ext uri="{FF2B5EF4-FFF2-40B4-BE49-F238E27FC236}">
                <a16:creationId xmlns:a16="http://schemas.microsoft.com/office/drawing/2014/main" id="{B4985C24-7790-7D3C-8BC6-D71A8DAD3D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675" y="4035105"/>
            <a:ext cx="4764947" cy="2141857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dirty="0">
                <a:solidFill>
                  <a:sysClr val="windowText" lastClr="000000"/>
                </a:solidFill>
                <a:latin typeface="Segoe UI (body)"/>
              </a:rPr>
              <a:t>Once we define what a function does we can apply it over a number of inpu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293C975-ED1F-F145-85F5-23D0E554EC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4509" y="2112342"/>
            <a:ext cx="6486506" cy="341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664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82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A </a:t>
            </a:r>
            <a:r>
              <a:rPr lang="nl-NL" dirty="0" err="1"/>
              <a:t>custom</a:t>
            </a:r>
            <a:r>
              <a:rPr lang="nl-NL" dirty="0"/>
              <a:t> </a:t>
            </a:r>
            <a:r>
              <a:rPr lang="nl-NL" dirty="0" err="1"/>
              <a:t>function</a:t>
            </a:r>
            <a:r>
              <a:rPr lang="nl-NL" dirty="0"/>
              <a:t> in Power Query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BDDFF876-BEAE-DC85-70A6-367509BA298E}"/>
              </a:ext>
            </a:extLst>
          </p:cNvPr>
          <p:cNvSpPr txBox="1"/>
          <p:nvPr/>
        </p:nvSpPr>
        <p:spPr>
          <a:xfrm>
            <a:off x="1003299" y="2533225"/>
            <a:ext cx="923965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6000" dirty="0">
                <a:solidFill>
                  <a:srgbClr val="000000"/>
                </a:solidFill>
              </a:rPr>
              <a:t>Y             =           F(X)</a:t>
            </a:r>
            <a:endParaRPr lang="en-GB" sz="5400" dirty="0">
              <a:solidFill>
                <a:srgbClr val="000000"/>
              </a:solidFill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D10D4010-0A78-17BE-E4A4-2BD81E7DE970}"/>
              </a:ext>
            </a:extLst>
          </p:cNvPr>
          <p:cNvSpPr txBox="1"/>
          <p:nvPr/>
        </p:nvSpPr>
        <p:spPr>
          <a:xfrm>
            <a:off x="771787" y="5326616"/>
            <a:ext cx="10746297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800" dirty="0">
                <a:solidFill>
                  <a:srgbClr val="000000"/>
                </a:solidFill>
              </a:rPr>
              <a:t>Result		          	 Transformation	      Parameter       </a:t>
            </a:r>
          </a:p>
        </p:txBody>
      </p:sp>
      <p:sp>
        <p:nvSpPr>
          <p:cNvPr id="17" name="Arrow: Up 16">
            <a:extLst>
              <a:ext uri="{FF2B5EF4-FFF2-40B4-BE49-F238E27FC236}">
                <a16:creationId xmlns:a16="http://schemas.microsoft.com/office/drawing/2014/main" id="{A841F27E-63CE-3DCD-8DA9-6BAA13BC4F77}"/>
              </a:ext>
            </a:extLst>
          </p:cNvPr>
          <p:cNvSpPr/>
          <p:nvPr/>
        </p:nvSpPr>
        <p:spPr>
          <a:xfrm>
            <a:off x="1091500" y="3493779"/>
            <a:ext cx="241301" cy="1761798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Arrow: Up 17">
            <a:extLst>
              <a:ext uri="{FF2B5EF4-FFF2-40B4-BE49-F238E27FC236}">
                <a16:creationId xmlns:a16="http://schemas.microsoft.com/office/drawing/2014/main" id="{B80322B8-6E06-BA37-983E-E296F8760F72}"/>
              </a:ext>
            </a:extLst>
          </p:cNvPr>
          <p:cNvSpPr/>
          <p:nvPr/>
        </p:nvSpPr>
        <p:spPr>
          <a:xfrm rot="1134267">
            <a:off x="6558713" y="3230296"/>
            <a:ext cx="255944" cy="1913597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Arrow: Up 18">
            <a:extLst>
              <a:ext uri="{FF2B5EF4-FFF2-40B4-BE49-F238E27FC236}">
                <a16:creationId xmlns:a16="http://schemas.microsoft.com/office/drawing/2014/main" id="{57008BEA-8F80-7BB7-0B17-593F78149C86}"/>
              </a:ext>
            </a:extLst>
          </p:cNvPr>
          <p:cNvSpPr/>
          <p:nvPr/>
        </p:nvSpPr>
        <p:spPr>
          <a:xfrm rot="19799760">
            <a:off x="8223849" y="3149497"/>
            <a:ext cx="268476" cy="2043481"/>
          </a:xfrm>
          <a:prstGeom prst="upArrow">
            <a:avLst>
              <a:gd name="adj1" fmla="val 25001"/>
              <a:gd name="adj2" fmla="val 9125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AEEE9B9-911A-D961-D9A7-BB87A90E4B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69158" y="646536"/>
            <a:ext cx="762739" cy="762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755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11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312479" cy="1325563"/>
          </a:xfrm>
        </p:spPr>
        <p:txBody>
          <a:bodyPr vert="horz"/>
          <a:lstStyle/>
          <a:p>
            <a:r>
              <a:rPr lang="nl-NL" dirty="0"/>
              <a:t>General </a:t>
            </a:r>
            <a:r>
              <a:rPr lang="nl-NL" dirty="0" err="1"/>
              <a:t>use</a:t>
            </a:r>
            <a:r>
              <a:rPr lang="nl-NL" dirty="0"/>
              <a:t>-case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custom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 err="1"/>
              <a:t>functions</a:t>
            </a:r>
            <a:r>
              <a:rPr lang="nl-NL" dirty="0"/>
              <a:t> in Power Query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BBD3F3B-6E8B-4F4B-3F65-690DAD0F61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76150" y="630128"/>
            <a:ext cx="762000" cy="762000"/>
          </a:xfrm>
          <a:prstGeom prst="rect">
            <a:avLst/>
          </a:prstGeom>
        </p:spPr>
      </p:pic>
      <p:sp>
        <p:nvSpPr>
          <p:cNvPr id="14" name="Tijdelijke aanduiding voor inhoud 4">
            <a:extLst>
              <a:ext uri="{FF2B5EF4-FFF2-40B4-BE49-F238E27FC236}">
                <a16:creationId xmlns:a16="http://schemas.microsoft.com/office/drawing/2014/main" id="{A16ACA8C-02CB-51C5-DF04-C2CADEB2A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72749"/>
            <a:ext cx="11241947" cy="1015068"/>
          </a:xfrm>
        </p:spPr>
        <p:txBody>
          <a:bodyPr>
            <a:normAutofit/>
          </a:bodyPr>
          <a:lstStyle/>
          <a:p>
            <a:pPr marL="0" indent="0">
              <a:buNone/>
              <a:defRPr/>
            </a:pPr>
            <a:r>
              <a:rPr lang="en-GB" dirty="0">
                <a:solidFill>
                  <a:srgbClr val="000000"/>
                </a:solidFill>
              </a:rPr>
              <a:t>U</a:t>
            </a:r>
            <a:r>
              <a:rPr lang="en-GB" sz="2800" dirty="0">
                <a:solidFill>
                  <a:srgbClr val="000000"/>
                </a:solidFill>
              </a:rPr>
              <a:t>se custom functions when you need to transform </a:t>
            </a:r>
            <a:r>
              <a:rPr lang="en-GB" sz="2800" b="1" dirty="0">
                <a:solidFill>
                  <a:srgbClr val="000000"/>
                </a:solidFill>
              </a:rPr>
              <a:t>multiple files </a:t>
            </a:r>
            <a:r>
              <a:rPr lang="en-GB" sz="2800" dirty="0">
                <a:solidFill>
                  <a:srgbClr val="000000"/>
                </a:solidFill>
              </a:rPr>
              <a:t>in the </a:t>
            </a:r>
            <a:r>
              <a:rPr lang="en-GB" sz="2800" b="1" dirty="0">
                <a:solidFill>
                  <a:srgbClr val="000000"/>
                </a:solidFill>
              </a:rPr>
              <a:t>same format </a:t>
            </a:r>
            <a:r>
              <a:rPr lang="en-GB" sz="2800" dirty="0">
                <a:solidFill>
                  <a:srgbClr val="000000"/>
                </a:solidFill>
              </a:rPr>
              <a:t>at once in the </a:t>
            </a:r>
            <a:r>
              <a:rPr lang="en-GB" sz="2800" b="1" dirty="0">
                <a:solidFill>
                  <a:srgbClr val="000000"/>
                </a:solidFill>
              </a:rPr>
              <a:t>same way </a:t>
            </a:r>
            <a:r>
              <a:rPr lang="en-GB" sz="2800" dirty="0">
                <a:solidFill>
                  <a:srgbClr val="000000"/>
                </a:solidFill>
              </a:rPr>
              <a:t>and consolidate them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D07B6A6-A053-2A57-C22D-57E39D6B55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7824" y="3448571"/>
            <a:ext cx="768096" cy="768096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DB045427-65F9-2CCA-8DD2-817FDC754E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7824" y="4506283"/>
            <a:ext cx="768096" cy="76809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05DB3FD6-8690-76E9-27A1-C70B29477A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7824" y="5563994"/>
            <a:ext cx="768096" cy="768096"/>
          </a:xfrm>
          <a:prstGeom prst="rect">
            <a:avLst/>
          </a:prstGeom>
        </p:spPr>
      </p:pic>
      <p:sp>
        <p:nvSpPr>
          <p:cNvPr id="24" name="Arrow: Right 23">
            <a:extLst>
              <a:ext uri="{FF2B5EF4-FFF2-40B4-BE49-F238E27FC236}">
                <a16:creationId xmlns:a16="http://schemas.microsoft.com/office/drawing/2014/main" id="{AF0BB47F-1A69-D4C8-37F9-07F4ECE0F2C4}"/>
              </a:ext>
            </a:extLst>
          </p:cNvPr>
          <p:cNvSpPr/>
          <p:nvPr/>
        </p:nvSpPr>
        <p:spPr>
          <a:xfrm>
            <a:off x="3674378" y="3745182"/>
            <a:ext cx="2642531" cy="475177"/>
          </a:xfrm>
          <a:prstGeom prst="rightArrow">
            <a:avLst>
              <a:gd name="adj1" fmla="val 50000"/>
              <a:gd name="adj2" fmla="val 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5C161B30-ED16-5B28-4B5F-4012A9A377FC}"/>
              </a:ext>
            </a:extLst>
          </p:cNvPr>
          <p:cNvSpPr/>
          <p:nvPr/>
        </p:nvSpPr>
        <p:spPr>
          <a:xfrm>
            <a:off x="6096001" y="4799202"/>
            <a:ext cx="2782236" cy="475177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90023BAB-461F-A45D-E045-9842FE9F9CFC}"/>
              </a:ext>
            </a:extLst>
          </p:cNvPr>
          <p:cNvSpPr/>
          <p:nvPr/>
        </p:nvSpPr>
        <p:spPr>
          <a:xfrm>
            <a:off x="3665988" y="5894162"/>
            <a:ext cx="2650921" cy="475177"/>
          </a:xfrm>
          <a:prstGeom prst="rightArrow">
            <a:avLst>
              <a:gd name="adj1" fmla="val 50000"/>
              <a:gd name="adj2" fmla="val 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1079268-F398-77BE-F07C-5C40A7B7A9E9}"/>
              </a:ext>
            </a:extLst>
          </p:cNvPr>
          <p:cNvGrpSpPr/>
          <p:nvPr/>
        </p:nvGrpSpPr>
        <p:grpSpPr>
          <a:xfrm>
            <a:off x="4609175" y="4286703"/>
            <a:ext cx="617167" cy="600258"/>
            <a:chOff x="8006715" y="3818517"/>
            <a:chExt cx="751702" cy="731107"/>
          </a:xfrm>
          <a:solidFill>
            <a:schemeClr val="tx1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87025A3-BDF7-4362-B85D-F74D8270134A}"/>
                </a:ext>
              </a:extLst>
            </p:cNvPr>
            <p:cNvSpPr/>
            <p:nvPr/>
          </p:nvSpPr>
          <p:spPr>
            <a:xfrm>
              <a:off x="8280623" y="4057414"/>
              <a:ext cx="477794" cy="492210"/>
            </a:xfrm>
            <a:custGeom>
              <a:avLst/>
              <a:gdLst>
                <a:gd name="connsiteX0" fmla="*/ 296562 w 477794"/>
                <a:gd name="connsiteY0" fmla="*/ 492211 h 492210"/>
                <a:gd name="connsiteX1" fmla="*/ 179173 w 477794"/>
                <a:gd name="connsiteY1" fmla="*/ 492211 h 492210"/>
                <a:gd name="connsiteX2" fmla="*/ 152400 w 477794"/>
                <a:gd name="connsiteY2" fmla="*/ 407773 h 492210"/>
                <a:gd name="connsiteX3" fmla="*/ 144162 w 477794"/>
                <a:gd name="connsiteY3" fmla="*/ 401595 h 492210"/>
                <a:gd name="connsiteX4" fmla="*/ 57665 w 477794"/>
                <a:gd name="connsiteY4" fmla="*/ 418070 h 492210"/>
                <a:gd name="connsiteX5" fmla="*/ 0 w 477794"/>
                <a:gd name="connsiteY5" fmla="*/ 317157 h 492210"/>
                <a:gd name="connsiteX6" fmla="*/ 59724 w 477794"/>
                <a:gd name="connsiteY6" fmla="*/ 251254 h 492210"/>
                <a:gd name="connsiteX7" fmla="*/ 59724 w 477794"/>
                <a:gd name="connsiteY7" fmla="*/ 245076 h 492210"/>
                <a:gd name="connsiteX8" fmla="*/ 59724 w 477794"/>
                <a:gd name="connsiteY8" fmla="*/ 238897 h 492210"/>
                <a:gd name="connsiteX9" fmla="*/ 2059 w 477794"/>
                <a:gd name="connsiteY9" fmla="*/ 172995 h 492210"/>
                <a:gd name="connsiteX10" fmla="*/ 59724 w 477794"/>
                <a:gd name="connsiteY10" fmla="*/ 72081 h 492210"/>
                <a:gd name="connsiteX11" fmla="*/ 146222 w 477794"/>
                <a:gd name="connsiteY11" fmla="*/ 88557 h 492210"/>
                <a:gd name="connsiteX12" fmla="*/ 154459 w 477794"/>
                <a:gd name="connsiteY12" fmla="*/ 82378 h 492210"/>
                <a:gd name="connsiteX13" fmla="*/ 181232 w 477794"/>
                <a:gd name="connsiteY13" fmla="*/ 0 h 492210"/>
                <a:gd name="connsiteX14" fmla="*/ 298622 w 477794"/>
                <a:gd name="connsiteY14" fmla="*/ 0 h 492210"/>
                <a:gd name="connsiteX15" fmla="*/ 325395 w 477794"/>
                <a:gd name="connsiteY15" fmla="*/ 82378 h 492210"/>
                <a:gd name="connsiteX16" fmla="*/ 333632 w 477794"/>
                <a:gd name="connsiteY16" fmla="*/ 88557 h 492210"/>
                <a:gd name="connsiteX17" fmla="*/ 418070 w 477794"/>
                <a:gd name="connsiteY17" fmla="*/ 72081 h 492210"/>
                <a:gd name="connsiteX18" fmla="*/ 477795 w 477794"/>
                <a:gd name="connsiteY18" fmla="*/ 172995 h 492210"/>
                <a:gd name="connsiteX19" fmla="*/ 420130 w 477794"/>
                <a:gd name="connsiteY19" fmla="*/ 238897 h 492210"/>
                <a:gd name="connsiteX20" fmla="*/ 420130 w 477794"/>
                <a:gd name="connsiteY20" fmla="*/ 245076 h 492210"/>
                <a:gd name="connsiteX21" fmla="*/ 420130 w 477794"/>
                <a:gd name="connsiteY21" fmla="*/ 251254 h 492210"/>
                <a:gd name="connsiteX22" fmla="*/ 477795 w 477794"/>
                <a:gd name="connsiteY22" fmla="*/ 315097 h 492210"/>
                <a:gd name="connsiteX23" fmla="*/ 420130 w 477794"/>
                <a:gd name="connsiteY23" fmla="*/ 416011 h 492210"/>
                <a:gd name="connsiteX24" fmla="*/ 333632 w 477794"/>
                <a:gd name="connsiteY24" fmla="*/ 399535 h 492210"/>
                <a:gd name="connsiteX25" fmla="*/ 325395 w 477794"/>
                <a:gd name="connsiteY25" fmla="*/ 405714 h 492210"/>
                <a:gd name="connsiteX26" fmla="*/ 296562 w 477794"/>
                <a:gd name="connsiteY26" fmla="*/ 492211 h 492210"/>
                <a:gd name="connsiteX27" fmla="*/ 214184 w 477794"/>
                <a:gd name="connsiteY27" fmla="*/ 444843 h 492210"/>
                <a:gd name="connsiteX28" fmla="*/ 261551 w 477794"/>
                <a:gd name="connsiteY28" fmla="*/ 444843 h 492210"/>
                <a:gd name="connsiteX29" fmla="*/ 284205 w 477794"/>
                <a:gd name="connsiteY29" fmla="*/ 374822 h 492210"/>
                <a:gd name="connsiteX30" fmla="*/ 292443 w 477794"/>
                <a:gd name="connsiteY30" fmla="*/ 370703 h 492210"/>
                <a:gd name="connsiteX31" fmla="*/ 313038 w 477794"/>
                <a:gd name="connsiteY31" fmla="*/ 358346 h 492210"/>
                <a:gd name="connsiteX32" fmla="*/ 321276 w 477794"/>
                <a:gd name="connsiteY32" fmla="*/ 352168 h 492210"/>
                <a:gd name="connsiteX33" fmla="*/ 393357 w 477794"/>
                <a:gd name="connsiteY33" fmla="*/ 366584 h 492210"/>
                <a:gd name="connsiteX34" fmla="*/ 418070 w 477794"/>
                <a:gd name="connsiteY34" fmla="*/ 325395 h 492210"/>
                <a:gd name="connsiteX35" fmla="*/ 368643 w 477794"/>
                <a:gd name="connsiteY35" fmla="*/ 269789 h 492210"/>
                <a:gd name="connsiteX36" fmla="*/ 370703 w 477794"/>
                <a:gd name="connsiteY36" fmla="*/ 257432 h 492210"/>
                <a:gd name="connsiteX37" fmla="*/ 370703 w 477794"/>
                <a:gd name="connsiteY37" fmla="*/ 247135 h 492210"/>
                <a:gd name="connsiteX38" fmla="*/ 370703 w 477794"/>
                <a:gd name="connsiteY38" fmla="*/ 245076 h 492210"/>
                <a:gd name="connsiteX39" fmla="*/ 370703 w 477794"/>
                <a:gd name="connsiteY39" fmla="*/ 232719 h 492210"/>
                <a:gd name="connsiteX40" fmla="*/ 370703 w 477794"/>
                <a:gd name="connsiteY40" fmla="*/ 222422 h 492210"/>
                <a:gd name="connsiteX41" fmla="*/ 418070 w 477794"/>
                <a:gd name="connsiteY41" fmla="*/ 168876 h 492210"/>
                <a:gd name="connsiteX42" fmla="*/ 393357 w 477794"/>
                <a:gd name="connsiteY42" fmla="*/ 127686 h 492210"/>
                <a:gd name="connsiteX43" fmla="*/ 323335 w 477794"/>
                <a:gd name="connsiteY43" fmla="*/ 144162 h 492210"/>
                <a:gd name="connsiteX44" fmla="*/ 315097 w 477794"/>
                <a:gd name="connsiteY44" fmla="*/ 137984 h 492210"/>
                <a:gd name="connsiteX45" fmla="*/ 294503 w 477794"/>
                <a:gd name="connsiteY45" fmla="*/ 125627 h 492210"/>
                <a:gd name="connsiteX46" fmla="*/ 286265 w 477794"/>
                <a:gd name="connsiteY46" fmla="*/ 121508 h 492210"/>
                <a:gd name="connsiteX47" fmla="*/ 263611 w 477794"/>
                <a:gd name="connsiteY47" fmla="*/ 51486 h 492210"/>
                <a:gd name="connsiteX48" fmla="*/ 214184 w 477794"/>
                <a:gd name="connsiteY48" fmla="*/ 51486 h 492210"/>
                <a:gd name="connsiteX49" fmla="*/ 191530 w 477794"/>
                <a:gd name="connsiteY49" fmla="*/ 121508 h 492210"/>
                <a:gd name="connsiteX50" fmla="*/ 183292 w 477794"/>
                <a:gd name="connsiteY50" fmla="*/ 125627 h 492210"/>
                <a:gd name="connsiteX51" fmla="*/ 162697 w 477794"/>
                <a:gd name="connsiteY51" fmla="*/ 137984 h 492210"/>
                <a:gd name="connsiteX52" fmla="*/ 154459 w 477794"/>
                <a:gd name="connsiteY52" fmla="*/ 144162 h 492210"/>
                <a:gd name="connsiteX53" fmla="*/ 82378 w 477794"/>
                <a:gd name="connsiteY53" fmla="*/ 129746 h 492210"/>
                <a:gd name="connsiteX54" fmla="*/ 57665 w 477794"/>
                <a:gd name="connsiteY54" fmla="*/ 170935 h 492210"/>
                <a:gd name="connsiteX55" fmla="*/ 107092 w 477794"/>
                <a:gd name="connsiteY55" fmla="*/ 224481 h 492210"/>
                <a:gd name="connsiteX56" fmla="*/ 107092 w 477794"/>
                <a:gd name="connsiteY56" fmla="*/ 234778 h 492210"/>
                <a:gd name="connsiteX57" fmla="*/ 107092 w 477794"/>
                <a:gd name="connsiteY57" fmla="*/ 247135 h 492210"/>
                <a:gd name="connsiteX58" fmla="*/ 107092 w 477794"/>
                <a:gd name="connsiteY58" fmla="*/ 271849 h 492210"/>
                <a:gd name="connsiteX59" fmla="*/ 59724 w 477794"/>
                <a:gd name="connsiteY59" fmla="*/ 325395 h 492210"/>
                <a:gd name="connsiteX60" fmla="*/ 84438 w 477794"/>
                <a:gd name="connsiteY60" fmla="*/ 366584 h 492210"/>
                <a:gd name="connsiteX61" fmla="*/ 156519 w 477794"/>
                <a:gd name="connsiteY61" fmla="*/ 352168 h 492210"/>
                <a:gd name="connsiteX62" fmla="*/ 164757 w 477794"/>
                <a:gd name="connsiteY62" fmla="*/ 358346 h 492210"/>
                <a:gd name="connsiteX63" fmla="*/ 185351 w 477794"/>
                <a:gd name="connsiteY63" fmla="*/ 370703 h 492210"/>
                <a:gd name="connsiteX64" fmla="*/ 193589 w 477794"/>
                <a:gd name="connsiteY64" fmla="*/ 374822 h 492210"/>
                <a:gd name="connsiteX65" fmla="*/ 214184 w 477794"/>
                <a:gd name="connsiteY65" fmla="*/ 444843 h 49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477794" h="492210">
                  <a:moveTo>
                    <a:pt x="296562" y="492211"/>
                  </a:moveTo>
                  <a:lnTo>
                    <a:pt x="179173" y="492211"/>
                  </a:lnTo>
                  <a:lnTo>
                    <a:pt x="152400" y="407773"/>
                  </a:lnTo>
                  <a:cubicBezTo>
                    <a:pt x="150341" y="405714"/>
                    <a:pt x="146222" y="403654"/>
                    <a:pt x="144162" y="401595"/>
                  </a:cubicBezTo>
                  <a:lnTo>
                    <a:pt x="57665" y="418070"/>
                  </a:lnTo>
                  <a:lnTo>
                    <a:pt x="0" y="317157"/>
                  </a:lnTo>
                  <a:lnTo>
                    <a:pt x="59724" y="251254"/>
                  </a:lnTo>
                  <a:lnTo>
                    <a:pt x="59724" y="245076"/>
                  </a:lnTo>
                  <a:cubicBezTo>
                    <a:pt x="59724" y="243016"/>
                    <a:pt x="59724" y="240957"/>
                    <a:pt x="59724" y="238897"/>
                  </a:cubicBezTo>
                  <a:lnTo>
                    <a:pt x="2059" y="172995"/>
                  </a:lnTo>
                  <a:lnTo>
                    <a:pt x="59724" y="72081"/>
                  </a:lnTo>
                  <a:lnTo>
                    <a:pt x="146222" y="88557"/>
                  </a:lnTo>
                  <a:cubicBezTo>
                    <a:pt x="148281" y="86497"/>
                    <a:pt x="152400" y="84438"/>
                    <a:pt x="154459" y="82378"/>
                  </a:cubicBezTo>
                  <a:lnTo>
                    <a:pt x="181232" y="0"/>
                  </a:lnTo>
                  <a:lnTo>
                    <a:pt x="298622" y="0"/>
                  </a:lnTo>
                  <a:lnTo>
                    <a:pt x="325395" y="82378"/>
                  </a:lnTo>
                  <a:cubicBezTo>
                    <a:pt x="329514" y="84438"/>
                    <a:pt x="331573" y="86497"/>
                    <a:pt x="333632" y="88557"/>
                  </a:cubicBezTo>
                  <a:lnTo>
                    <a:pt x="418070" y="72081"/>
                  </a:lnTo>
                  <a:lnTo>
                    <a:pt x="477795" y="172995"/>
                  </a:lnTo>
                  <a:lnTo>
                    <a:pt x="420130" y="238897"/>
                  </a:lnTo>
                  <a:cubicBezTo>
                    <a:pt x="420130" y="240957"/>
                    <a:pt x="420130" y="243016"/>
                    <a:pt x="420130" y="245076"/>
                  </a:cubicBezTo>
                  <a:cubicBezTo>
                    <a:pt x="420130" y="247135"/>
                    <a:pt x="420130" y="249195"/>
                    <a:pt x="420130" y="251254"/>
                  </a:cubicBezTo>
                  <a:lnTo>
                    <a:pt x="477795" y="315097"/>
                  </a:lnTo>
                  <a:lnTo>
                    <a:pt x="420130" y="416011"/>
                  </a:lnTo>
                  <a:lnTo>
                    <a:pt x="333632" y="399535"/>
                  </a:lnTo>
                  <a:cubicBezTo>
                    <a:pt x="331573" y="401595"/>
                    <a:pt x="327454" y="403654"/>
                    <a:pt x="325395" y="405714"/>
                  </a:cubicBezTo>
                  <a:lnTo>
                    <a:pt x="296562" y="492211"/>
                  </a:lnTo>
                  <a:close/>
                  <a:moveTo>
                    <a:pt x="214184" y="444843"/>
                  </a:moveTo>
                  <a:lnTo>
                    <a:pt x="261551" y="444843"/>
                  </a:lnTo>
                  <a:lnTo>
                    <a:pt x="284205" y="374822"/>
                  </a:lnTo>
                  <a:lnTo>
                    <a:pt x="292443" y="370703"/>
                  </a:lnTo>
                  <a:cubicBezTo>
                    <a:pt x="298622" y="366584"/>
                    <a:pt x="306859" y="362465"/>
                    <a:pt x="313038" y="358346"/>
                  </a:cubicBezTo>
                  <a:lnTo>
                    <a:pt x="321276" y="352168"/>
                  </a:lnTo>
                  <a:lnTo>
                    <a:pt x="393357" y="366584"/>
                  </a:lnTo>
                  <a:lnTo>
                    <a:pt x="418070" y="325395"/>
                  </a:lnTo>
                  <a:lnTo>
                    <a:pt x="368643" y="269789"/>
                  </a:lnTo>
                  <a:lnTo>
                    <a:pt x="370703" y="257432"/>
                  </a:lnTo>
                  <a:cubicBezTo>
                    <a:pt x="370703" y="253314"/>
                    <a:pt x="370703" y="251254"/>
                    <a:pt x="370703" y="247135"/>
                  </a:cubicBezTo>
                  <a:lnTo>
                    <a:pt x="370703" y="245076"/>
                  </a:lnTo>
                  <a:cubicBezTo>
                    <a:pt x="370703" y="240957"/>
                    <a:pt x="370703" y="236838"/>
                    <a:pt x="370703" y="232719"/>
                  </a:cubicBezTo>
                  <a:lnTo>
                    <a:pt x="370703" y="222422"/>
                  </a:lnTo>
                  <a:lnTo>
                    <a:pt x="418070" y="168876"/>
                  </a:lnTo>
                  <a:lnTo>
                    <a:pt x="393357" y="127686"/>
                  </a:lnTo>
                  <a:lnTo>
                    <a:pt x="323335" y="144162"/>
                  </a:lnTo>
                  <a:lnTo>
                    <a:pt x="315097" y="137984"/>
                  </a:lnTo>
                  <a:cubicBezTo>
                    <a:pt x="308919" y="133865"/>
                    <a:pt x="302741" y="129746"/>
                    <a:pt x="294503" y="125627"/>
                  </a:cubicBezTo>
                  <a:lnTo>
                    <a:pt x="286265" y="121508"/>
                  </a:lnTo>
                  <a:lnTo>
                    <a:pt x="263611" y="51486"/>
                  </a:lnTo>
                  <a:lnTo>
                    <a:pt x="214184" y="51486"/>
                  </a:lnTo>
                  <a:lnTo>
                    <a:pt x="191530" y="121508"/>
                  </a:lnTo>
                  <a:lnTo>
                    <a:pt x="183292" y="125627"/>
                  </a:lnTo>
                  <a:cubicBezTo>
                    <a:pt x="177114" y="129746"/>
                    <a:pt x="168876" y="133865"/>
                    <a:pt x="162697" y="137984"/>
                  </a:cubicBezTo>
                  <a:lnTo>
                    <a:pt x="154459" y="144162"/>
                  </a:lnTo>
                  <a:lnTo>
                    <a:pt x="82378" y="129746"/>
                  </a:lnTo>
                  <a:lnTo>
                    <a:pt x="57665" y="170935"/>
                  </a:lnTo>
                  <a:lnTo>
                    <a:pt x="107092" y="224481"/>
                  </a:lnTo>
                  <a:lnTo>
                    <a:pt x="107092" y="234778"/>
                  </a:lnTo>
                  <a:cubicBezTo>
                    <a:pt x="107092" y="238897"/>
                    <a:pt x="107092" y="243016"/>
                    <a:pt x="107092" y="247135"/>
                  </a:cubicBezTo>
                  <a:lnTo>
                    <a:pt x="107092" y="271849"/>
                  </a:lnTo>
                  <a:lnTo>
                    <a:pt x="59724" y="325395"/>
                  </a:lnTo>
                  <a:lnTo>
                    <a:pt x="84438" y="366584"/>
                  </a:lnTo>
                  <a:lnTo>
                    <a:pt x="156519" y="352168"/>
                  </a:lnTo>
                  <a:lnTo>
                    <a:pt x="164757" y="358346"/>
                  </a:lnTo>
                  <a:cubicBezTo>
                    <a:pt x="170935" y="362465"/>
                    <a:pt x="177114" y="366584"/>
                    <a:pt x="185351" y="370703"/>
                  </a:cubicBezTo>
                  <a:lnTo>
                    <a:pt x="193589" y="374822"/>
                  </a:lnTo>
                  <a:lnTo>
                    <a:pt x="214184" y="444843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EBBE941-0CF7-8605-9F30-54B22018C947}"/>
                </a:ext>
              </a:extLst>
            </p:cNvPr>
            <p:cNvSpPr/>
            <p:nvPr/>
          </p:nvSpPr>
          <p:spPr>
            <a:xfrm>
              <a:off x="8449498" y="4236587"/>
              <a:ext cx="140043" cy="140043"/>
            </a:xfrm>
            <a:custGeom>
              <a:avLst/>
              <a:gdLst>
                <a:gd name="connsiteX0" fmla="*/ 70022 w 140043"/>
                <a:gd name="connsiteY0" fmla="*/ 140043 h 140043"/>
                <a:gd name="connsiteX1" fmla="*/ 0 w 140043"/>
                <a:gd name="connsiteY1" fmla="*/ 70022 h 140043"/>
                <a:gd name="connsiteX2" fmla="*/ 70022 w 140043"/>
                <a:gd name="connsiteY2" fmla="*/ 0 h 140043"/>
                <a:gd name="connsiteX3" fmla="*/ 140043 w 140043"/>
                <a:gd name="connsiteY3" fmla="*/ 70022 h 140043"/>
                <a:gd name="connsiteX4" fmla="*/ 70022 w 140043"/>
                <a:gd name="connsiteY4" fmla="*/ 140043 h 140043"/>
                <a:gd name="connsiteX5" fmla="*/ 70022 w 140043"/>
                <a:gd name="connsiteY5" fmla="*/ 45308 h 140043"/>
                <a:gd name="connsiteX6" fmla="*/ 47368 w 140043"/>
                <a:gd name="connsiteY6" fmla="*/ 67962 h 140043"/>
                <a:gd name="connsiteX7" fmla="*/ 70022 w 140043"/>
                <a:gd name="connsiteY7" fmla="*/ 90616 h 140043"/>
                <a:gd name="connsiteX8" fmla="*/ 92676 w 140043"/>
                <a:gd name="connsiteY8" fmla="*/ 67962 h 140043"/>
                <a:gd name="connsiteX9" fmla="*/ 70022 w 140043"/>
                <a:gd name="connsiteY9" fmla="*/ 45308 h 1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43" h="140043">
                  <a:moveTo>
                    <a:pt x="70022" y="140043"/>
                  </a:moveTo>
                  <a:cubicBezTo>
                    <a:pt x="30892" y="140043"/>
                    <a:pt x="0" y="109151"/>
                    <a:pt x="0" y="70022"/>
                  </a:cubicBezTo>
                  <a:cubicBezTo>
                    <a:pt x="0" y="30892"/>
                    <a:pt x="30892" y="0"/>
                    <a:pt x="70022" y="0"/>
                  </a:cubicBezTo>
                  <a:cubicBezTo>
                    <a:pt x="109151" y="0"/>
                    <a:pt x="140043" y="30892"/>
                    <a:pt x="140043" y="70022"/>
                  </a:cubicBezTo>
                  <a:cubicBezTo>
                    <a:pt x="140043" y="109151"/>
                    <a:pt x="107092" y="140043"/>
                    <a:pt x="70022" y="140043"/>
                  </a:cubicBezTo>
                  <a:close/>
                  <a:moveTo>
                    <a:pt x="70022" y="45308"/>
                  </a:moveTo>
                  <a:cubicBezTo>
                    <a:pt x="57665" y="45308"/>
                    <a:pt x="47368" y="55605"/>
                    <a:pt x="47368" y="67962"/>
                  </a:cubicBezTo>
                  <a:cubicBezTo>
                    <a:pt x="47368" y="80319"/>
                    <a:pt x="57665" y="90616"/>
                    <a:pt x="70022" y="90616"/>
                  </a:cubicBezTo>
                  <a:cubicBezTo>
                    <a:pt x="82378" y="90616"/>
                    <a:pt x="92676" y="80319"/>
                    <a:pt x="92676" y="67962"/>
                  </a:cubicBezTo>
                  <a:cubicBezTo>
                    <a:pt x="92676" y="55605"/>
                    <a:pt x="82378" y="45308"/>
                    <a:pt x="70022" y="45308"/>
                  </a:cubicBez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73AD9DE-93F1-45BB-B3EF-22F42D6D0B19}"/>
                </a:ext>
              </a:extLst>
            </p:cNvPr>
            <p:cNvSpPr/>
            <p:nvPr/>
          </p:nvSpPr>
          <p:spPr>
            <a:xfrm>
              <a:off x="8115866" y="4197457"/>
              <a:ext cx="45308" cy="45308"/>
            </a:xfrm>
            <a:custGeom>
              <a:avLst/>
              <a:gdLst>
                <a:gd name="connsiteX0" fmla="*/ 22654 w 45308"/>
                <a:gd name="connsiteY0" fmla="*/ 0 h 45308"/>
                <a:gd name="connsiteX1" fmla="*/ 0 w 45308"/>
                <a:gd name="connsiteY1" fmla="*/ 22654 h 45308"/>
                <a:gd name="connsiteX2" fmla="*/ 22654 w 45308"/>
                <a:gd name="connsiteY2" fmla="*/ 45308 h 45308"/>
                <a:gd name="connsiteX3" fmla="*/ 45308 w 45308"/>
                <a:gd name="connsiteY3" fmla="*/ 22654 h 45308"/>
                <a:gd name="connsiteX4" fmla="*/ 22654 w 45308"/>
                <a:gd name="connsiteY4" fmla="*/ 0 h 45308"/>
                <a:gd name="connsiteX5" fmla="*/ 22654 w 45308"/>
                <a:gd name="connsiteY5" fmla="*/ 0 h 4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08" h="45308">
                  <a:moveTo>
                    <a:pt x="22654" y="0"/>
                  </a:moveTo>
                  <a:cubicBezTo>
                    <a:pt x="10297" y="0"/>
                    <a:pt x="0" y="10297"/>
                    <a:pt x="0" y="22654"/>
                  </a:cubicBezTo>
                  <a:cubicBezTo>
                    <a:pt x="0" y="35011"/>
                    <a:pt x="10297" y="45308"/>
                    <a:pt x="22654" y="45308"/>
                  </a:cubicBezTo>
                  <a:cubicBezTo>
                    <a:pt x="35011" y="45308"/>
                    <a:pt x="45308" y="35011"/>
                    <a:pt x="45308" y="22654"/>
                  </a:cubicBezTo>
                  <a:cubicBezTo>
                    <a:pt x="45308" y="10297"/>
                    <a:pt x="35011" y="0"/>
                    <a:pt x="22654" y="0"/>
                  </a:cubicBezTo>
                  <a:lnTo>
                    <a:pt x="22654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0B5722E-4692-24B5-AFEE-2354B38E61A7}"/>
                </a:ext>
              </a:extLst>
            </p:cNvPr>
            <p:cNvSpPr/>
            <p:nvPr/>
          </p:nvSpPr>
          <p:spPr>
            <a:xfrm>
              <a:off x="8006715" y="4090365"/>
              <a:ext cx="263610" cy="261551"/>
            </a:xfrm>
            <a:custGeom>
              <a:avLst/>
              <a:gdLst>
                <a:gd name="connsiteX0" fmla="*/ 166816 w 263610"/>
                <a:gd name="connsiteY0" fmla="*/ 261551 h 261551"/>
                <a:gd name="connsiteX1" fmla="*/ 96795 w 263610"/>
                <a:gd name="connsiteY1" fmla="*/ 261551 h 261551"/>
                <a:gd name="connsiteX2" fmla="*/ 82378 w 263610"/>
                <a:gd name="connsiteY2" fmla="*/ 218303 h 261551"/>
                <a:gd name="connsiteX3" fmla="*/ 37070 w 263610"/>
                <a:gd name="connsiteY3" fmla="*/ 226541 h 261551"/>
                <a:gd name="connsiteX4" fmla="*/ 0 w 263610"/>
                <a:gd name="connsiteY4" fmla="*/ 164757 h 261551"/>
                <a:gd name="connsiteX5" fmla="*/ 30892 w 263610"/>
                <a:gd name="connsiteY5" fmla="*/ 131805 h 261551"/>
                <a:gd name="connsiteX6" fmla="*/ 0 w 263610"/>
                <a:gd name="connsiteY6" fmla="*/ 96795 h 261551"/>
                <a:gd name="connsiteX7" fmla="*/ 35011 w 263610"/>
                <a:gd name="connsiteY7" fmla="*/ 35011 h 261551"/>
                <a:gd name="connsiteX8" fmla="*/ 82378 w 263610"/>
                <a:gd name="connsiteY8" fmla="*/ 43249 h 261551"/>
                <a:gd name="connsiteX9" fmla="*/ 96795 w 263610"/>
                <a:gd name="connsiteY9" fmla="*/ 0 h 261551"/>
                <a:gd name="connsiteX10" fmla="*/ 168876 w 263610"/>
                <a:gd name="connsiteY10" fmla="*/ 0 h 261551"/>
                <a:gd name="connsiteX11" fmla="*/ 183292 w 263610"/>
                <a:gd name="connsiteY11" fmla="*/ 45308 h 261551"/>
                <a:gd name="connsiteX12" fmla="*/ 226541 w 263610"/>
                <a:gd name="connsiteY12" fmla="*/ 35011 h 261551"/>
                <a:gd name="connsiteX13" fmla="*/ 263611 w 263610"/>
                <a:gd name="connsiteY13" fmla="*/ 96795 h 261551"/>
                <a:gd name="connsiteX14" fmla="*/ 232719 w 263610"/>
                <a:gd name="connsiteY14" fmla="*/ 131805 h 261551"/>
                <a:gd name="connsiteX15" fmla="*/ 263611 w 263610"/>
                <a:gd name="connsiteY15" fmla="*/ 166816 h 261551"/>
                <a:gd name="connsiteX16" fmla="*/ 228600 w 263610"/>
                <a:gd name="connsiteY16" fmla="*/ 228600 h 261551"/>
                <a:gd name="connsiteX17" fmla="*/ 183292 w 263610"/>
                <a:gd name="connsiteY17" fmla="*/ 220362 h 261551"/>
                <a:gd name="connsiteX18" fmla="*/ 166816 w 263610"/>
                <a:gd name="connsiteY18" fmla="*/ 261551 h 261551"/>
                <a:gd name="connsiteX19" fmla="*/ 125627 w 263610"/>
                <a:gd name="connsiteY19" fmla="*/ 220362 h 261551"/>
                <a:gd name="connsiteX20" fmla="*/ 135924 w 263610"/>
                <a:gd name="connsiteY20" fmla="*/ 220362 h 261551"/>
                <a:gd name="connsiteX21" fmla="*/ 146222 w 263610"/>
                <a:gd name="connsiteY21" fmla="*/ 187411 h 261551"/>
                <a:gd name="connsiteX22" fmla="*/ 154459 w 263610"/>
                <a:gd name="connsiteY22" fmla="*/ 183292 h 261551"/>
                <a:gd name="connsiteX23" fmla="*/ 164757 w 263610"/>
                <a:gd name="connsiteY23" fmla="*/ 179173 h 261551"/>
                <a:gd name="connsiteX24" fmla="*/ 172995 w 263610"/>
                <a:gd name="connsiteY24" fmla="*/ 175054 h 261551"/>
                <a:gd name="connsiteX25" fmla="*/ 205946 w 263610"/>
                <a:gd name="connsiteY25" fmla="*/ 179173 h 261551"/>
                <a:gd name="connsiteX26" fmla="*/ 212124 w 263610"/>
                <a:gd name="connsiteY26" fmla="*/ 168876 h 261551"/>
                <a:gd name="connsiteX27" fmla="*/ 191530 w 263610"/>
                <a:gd name="connsiteY27" fmla="*/ 144162 h 261551"/>
                <a:gd name="connsiteX28" fmla="*/ 191530 w 263610"/>
                <a:gd name="connsiteY28" fmla="*/ 113270 h 261551"/>
                <a:gd name="connsiteX29" fmla="*/ 214184 w 263610"/>
                <a:gd name="connsiteY29" fmla="*/ 88557 h 261551"/>
                <a:gd name="connsiteX30" fmla="*/ 205946 w 263610"/>
                <a:gd name="connsiteY30" fmla="*/ 82378 h 261551"/>
                <a:gd name="connsiteX31" fmla="*/ 170935 w 263610"/>
                <a:gd name="connsiteY31" fmla="*/ 88557 h 261551"/>
                <a:gd name="connsiteX32" fmla="*/ 164757 w 263610"/>
                <a:gd name="connsiteY32" fmla="*/ 84438 h 261551"/>
                <a:gd name="connsiteX33" fmla="*/ 156519 w 263610"/>
                <a:gd name="connsiteY33" fmla="*/ 80319 h 261551"/>
                <a:gd name="connsiteX34" fmla="*/ 148281 w 263610"/>
                <a:gd name="connsiteY34" fmla="*/ 76200 h 261551"/>
                <a:gd name="connsiteX35" fmla="*/ 137984 w 263610"/>
                <a:gd name="connsiteY35" fmla="*/ 43249 h 261551"/>
                <a:gd name="connsiteX36" fmla="*/ 125627 w 263610"/>
                <a:gd name="connsiteY36" fmla="*/ 43249 h 261551"/>
                <a:gd name="connsiteX37" fmla="*/ 115330 w 263610"/>
                <a:gd name="connsiteY37" fmla="*/ 76200 h 261551"/>
                <a:gd name="connsiteX38" fmla="*/ 107092 w 263610"/>
                <a:gd name="connsiteY38" fmla="*/ 80319 h 261551"/>
                <a:gd name="connsiteX39" fmla="*/ 98854 w 263610"/>
                <a:gd name="connsiteY39" fmla="*/ 84438 h 261551"/>
                <a:gd name="connsiteX40" fmla="*/ 90616 w 263610"/>
                <a:gd name="connsiteY40" fmla="*/ 90616 h 261551"/>
                <a:gd name="connsiteX41" fmla="*/ 57665 w 263610"/>
                <a:gd name="connsiteY41" fmla="*/ 84438 h 261551"/>
                <a:gd name="connsiteX42" fmla="*/ 51486 w 263610"/>
                <a:gd name="connsiteY42" fmla="*/ 94735 h 261551"/>
                <a:gd name="connsiteX43" fmla="*/ 74141 w 263610"/>
                <a:gd name="connsiteY43" fmla="*/ 117389 h 261551"/>
                <a:gd name="connsiteX44" fmla="*/ 74141 w 263610"/>
                <a:gd name="connsiteY44" fmla="*/ 148281 h 261551"/>
                <a:gd name="connsiteX45" fmla="*/ 51486 w 263610"/>
                <a:gd name="connsiteY45" fmla="*/ 172995 h 261551"/>
                <a:gd name="connsiteX46" fmla="*/ 57665 w 263610"/>
                <a:gd name="connsiteY46" fmla="*/ 179173 h 261551"/>
                <a:gd name="connsiteX47" fmla="*/ 90616 w 263610"/>
                <a:gd name="connsiteY47" fmla="*/ 172995 h 261551"/>
                <a:gd name="connsiteX48" fmla="*/ 98854 w 263610"/>
                <a:gd name="connsiteY48" fmla="*/ 179173 h 261551"/>
                <a:gd name="connsiteX49" fmla="*/ 109151 w 263610"/>
                <a:gd name="connsiteY49" fmla="*/ 185351 h 261551"/>
                <a:gd name="connsiteX50" fmla="*/ 117389 w 263610"/>
                <a:gd name="connsiteY50" fmla="*/ 189470 h 261551"/>
                <a:gd name="connsiteX51" fmla="*/ 125627 w 263610"/>
                <a:gd name="connsiteY51" fmla="*/ 220362 h 26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3610" h="261551">
                  <a:moveTo>
                    <a:pt x="166816" y="261551"/>
                  </a:moveTo>
                  <a:lnTo>
                    <a:pt x="96795" y="261551"/>
                  </a:lnTo>
                  <a:lnTo>
                    <a:pt x="82378" y="218303"/>
                  </a:lnTo>
                  <a:lnTo>
                    <a:pt x="37070" y="226541"/>
                  </a:lnTo>
                  <a:lnTo>
                    <a:pt x="0" y="164757"/>
                  </a:lnTo>
                  <a:lnTo>
                    <a:pt x="30892" y="131805"/>
                  </a:lnTo>
                  <a:lnTo>
                    <a:pt x="0" y="96795"/>
                  </a:lnTo>
                  <a:lnTo>
                    <a:pt x="35011" y="35011"/>
                  </a:lnTo>
                  <a:lnTo>
                    <a:pt x="82378" y="43249"/>
                  </a:lnTo>
                  <a:lnTo>
                    <a:pt x="96795" y="0"/>
                  </a:lnTo>
                  <a:lnTo>
                    <a:pt x="168876" y="0"/>
                  </a:lnTo>
                  <a:lnTo>
                    <a:pt x="183292" y="45308"/>
                  </a:lnTo>
                  <a:lnTo>
                    <a:pt x="226541" y="35011"/>
                  </a:lnTo>
                  <a:lnTo>
                    <a:pt x="263611" y="96795"/>
                  </a:lnTo>
                  <a:lnTo>
                    <a:pt x="232719" y="131805"/>
                  </a:lnTo>
                  <a:lnTo>
                    <a:pt x="263611" y="166816"/>
                  </a:lnTo>
                  <a:lnTo>
                    <a:pt x="228600" y="228600"/>
                  </a:lnTo>
                  <a:lnTo>
                    <a:pt x="183292" y="220362"/>
                  </a:lnTo>
                  <a:lnTo>
                    <a:pt x="166816" y="261551"/>
                  </a:lnTo>
                  <a:close/>
                  <a:moveTo>
                    <a:pt x="125627" y="220362"/>
                  </a:moveTo>
                  <a:lnTo>
                    <a:pt x="135924" y="220362"/>
                  </a:lnTo>
                  <a:lnTo>
                    <a:pt x="146222" y="187411"/>
                  </a:lnTo>
                  <a:lnTo>
                    <a:pt x="154459" y="183292"/>
                  </a:lnTo>
                  <a:cubicBezTo>
                    <a:pt x="158578" y="183292"/>
                    <a:pt x="162697" y="181232"/>
                    <a:pt x="164757" y="179173"/>
                  </a:cubicBezTo>
                  <a:lnTo>
                    <a:pt x="172995" y="175054"/>
                  </a:lnTo>
                  <a:lnTo>
                    <a:pt x="205946" y="179173"/>
                  </a:lnTo>
                  <a:lnTo>
                    <a:pt x="212124" y="168876"/>
                  </a:lnTo>
                  <a:lnTo>
                    <a:pt x="191530" y="144162"/>
                  </a:lnTo>
                  <a:lnTo>
                    <a:pt x="191530" y="113270"/>
                  </a:lnTo>
                  <a:lnTo>
                    <a:pt x="214184" y="88557"/>
                  </a:lnTo>
                  <a:lnTo>
                    <a:pt x="205946" y="82378"/>
                  </a:lnTo>
                  <a:lnTo>
                    <a:pt x="170935" y="88557"/>
                  </a:lnTo>
                  <a:lnTo>
                    <a:pt x="164757" y="84438"/>
                  </a:lnTo>
                  <a:cubicBezTo>
                    <a:pt x="162697" y="82378"/>
                    <a:pt x="160638" y="80319"/>
                    <a:pt x="156519" y="80319"/>
                  </a:cubicBezTo>
                  <a:lnTo>
                    <a:pt x="148281" y="76200"/>
                  </a:lnTo>
                  <a:lnTo>
                    <a:pt x="137984" y="43249"/>
                  </a:lnTo>
                  <a:lnTo>
                    <a:pt x="125627" y="43249"/>
                  </a:lnTo>
                  <a:lnTo>
                    <a:pt x="115330" y="76200"/>
                  </a:lnTo>
                  <a:lnTo>
                    <a:pt x="107092" y="80319"/>
                  </a:lnTo>
                  <a:cubicBezTo>
                    <a:pt x="105032" y="82378"/>
                    <a:pt x="100914" y="82378"/>
                    <a:pt x="98854" y="84438"/>
                  </a:cubicBezTo>
                  <a:lnTo>
                    <a:pt x="90616" y="90616"/>
                  </a:lnTo>
                  <a:lnTo>
                    <a:pt x="57665" y="84438"/>
                  </a:lnTo>
                  <a:lnTo>
                    <a:pt x="51486" y="94735"/>
                  </a:lnTo>
                  <a:lnTo>
                    <a:pt x="74141" y="117389"/>
                  </a:lnTo>
                  <a:lnTo>
                    <a:pt x="74141" y="148281"/>
                  </a:lnTo>
                  <a:lnTo>
                    <a:pt x="51486" y="172995"/>
                  </a:lnTo>
                  <a:lnTo>
                    <a:pt x="57665" y="179173"/>
                  </a:lnTo>
                  <a:lnTo>
                    <a:pt x="90616" y="172995"/>
                  </a:lnTo>
                  <a:lnTo>
                    <a:pt x="98854" y="179173"/>
                  </a:lnTo>
                  <a:cubicBezTo>
                    <a:pt x="102973" y="181232"/>
                    <a:pt x="105032" y="183292"/>
                    <a:pt x="109151" y="185351"/>
                  </a:cubicBezTo>
                  <a:lnTo>
                    <a:pt x="117389" y="189470"/>
                  </a:lnTo>
                  <a:lnTo>
                    <a:pt x="125627" y="220362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195F201-02B5-2A9D-9F17-D959878B463B}"/>
                </a:ext>
              </a:extLst>
            </p:cNvPr>
            <p:cNvSpPr/>
            <p:nvPr/>
          </p:nvSpPr>
          <p:spPr>
            <a:xfrm>
              <a:off x="8298379" y="3940025"/>
              <a:ext cx="50985" cy="49427"/>
            </a:xfrm>
            <a:custGeom>
              <a:avLst/>
              <a:gdLst>
                <a:gd name="connsiteX0" fmla="*/ 27552 w 50985"/>
                <a:gd name="connsiteY0" fmla="*/ 0 h 49427"/>
                <a:gd name="connsiteX1" fmla="*/ 13136 w 50985"/>
                <a:gd name="connsiteY1" fmla="*/ 2059 h 49427"/>
                <a:gd name="connsiteX2" fmla="*/ 2839 w 50985"/>
                <a:gd name="connsiteY2" fmla="*/ 37070 h 49427"/>
                <a:gd name="connsiteX3" fmla="*/ 25493 w 50985"/>
                <a:gd name="connsiteY3" fmla="*/ 49427 h 49427"/>
                <a:gd name="connsiteX4" fmla="*/ 37849 w 50985"/>
                <a:gd name="connsiteY4" fmla="*/ 45308 h 49427"/>
                <a:gd name="connsiteX5" fmla="*/ 48147 w 50985"/>
                <a:gd name="connsiteY5" fmla="*/ 10297 h 49427"/>
                <a:gd name="connsiteX6" fmla="*/ 27552 w 50985"/>
                <a:gd name="connsiteY6" fmla="*/ 0 h 49427"/>
                <a:gd name="connsiteX7" fmla="*/ 27552 w 50985"/>
                <a:gd name="connsiteY7" fmla="*/ 0 h 4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985" h="49427">
                  <a:moveTo>
                    <a:pt x="27552" y="0"/>
                  </a:moveTo>
                  <a:cubicBezTo>
                    <a:pt x="21374" y="0"/>
                    <a:pt x="17255" y="0"/>
                    <a:pt x="13136" y="2059"/>
                  </a:cubicBezTo>
                  <a:cubicBezTo>
                    <a:pt x="779" y="10297"/>
                    <a:pt x="-3340" y="24714"/>
                    <a:pt x="2839" y="37070"/>
                  </a:cubicBezTo>
                  <a:cubicBezTo>
                    <a:pt x="6957" y="45308"/>
                    <a:pt x="15195" y="49427"/>
                    <a:pt x="25493" y="49427"/>
                  </a:cubicBezTo>
                  <a:cubicBezTo>
                    <a:pt x="29612" y="49427"/>
                    <a:pt x="33730" y="47368"/>
                    <a:pt x="37849" y="45308"/>
                  </a:cubicBezTo>
                  <a:cubicBezTo>
                    <a:pt x="50206" y="37070"/>
                    <a:pt x="54325" y="22654"/>
                    <a:pt x="48147" y="10297"/>
                  </a:cubicBezTo>
                  <a:cubicBezTo>
                    <a:pt x="44028" y="4119"/>
                    <a:pt x="35790" y="0"/>
                    <a:pt x="27552" y="0"/>
                  </a:cubicBezTo>
                  <a:lnTo>
                    <a:pt x="27552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61BC1FA5-05F9-A8B9-4448-19A2C199D328}"/>
                </a:ext>
              </a:extLst>
            </p:cNvPr>
            <p:cNvSpPr/>
            <p:nvPr/>
          </p:nvSpPr>
          <p:spPr>
            <a:xfrm>
              <a:off x="8177650" y="3818517"/>
              <a:ext cx="294502" cy="296562"/>
            </a:xfrm>
            <a:custGeom>
              <a:avLst/>
              <a:gdLst>
                <a:gd name="connsiteX0" fmla="*/ 185351 w 294502"/>
                <a:gd name="connsiteY0" fmla="*/ 296562 h 296562"/>
                <a:gd name="connsiteX1" fmla="*/ 146222 w 294502"/>
                <a:gd name="connsiteY1" fmla="*/ 261551 h 296562"/>
                <a:gd name="connsiteX2" fmla="*/ 107092 w 294502"/>
                <a:gd name="connsiteY2" fmla="*/ 296562 h 296562"/>
                <a:gd name="connsiteX3" fmla="*/ 39130 w 294502"/>
                <a:gd name="connsiteY3" fmla="*/ 255373 h 296562"/>
                <a:gd name="connsiteX4" fmla="*/ 49427 w 294502"/>
                <a:gd name="connsiteY4" fmla="*/ 205946 h 296562"/>
                <a:gd name="connsiteX5" fmla="*/ 0 w 294502"/>
                <a:gd name="connsiteY5" fmla="*/ 189470 h 296562"/>
                <a:gd name="connsiteX6" fmla="*/ 0 w 294502"/>
                <a:gd name="connsiteY6" fmla="*/ 107092 h 296562"/>
                <a:gd name="connsiteX7" fmla="*/ 49427 w 294502"/>
                <a:gd name="connsiteY7" fmla="*/ 90616 h 296562"/>
                <a:gd name="connsiteX8" fmla="*/ 39130 w 294502"/>
                <a:gd name="connsiteY8" fmla="*/ 41189 h 296562"/>
                <a:gd name="connsiteX9" fmla="*/ 107092 w 294502"/>
                <a:gd name="connsiteY9" fmla="*/ 0 h 296562"/>
                <a:gd name="connsiteX10" fmla="*/ 146222 w 294502"/>
                <a:gd name="connsiteY10" fmla="*/ 35011 h 296562"/>
                <a:gd name="connsiteX11" fmla="*/ 185351 w 294502"/>
                <a:gd name="connsiteY11" fmla="*/ 0 h 296562"/>
                <a:gd name="connsiteX12" fmla="*/ 255373 w 294502"/>
                <a:gd name="connsiteY12" fmla="*/ 41189 h 296562"/>
                <a:gd name="connsiteX13" fmla="*/ 245076 w 294502"/>
                <a:gd name="connsiteY13" fmla="*/ 90616 h 296562"/>
                <a:gd name="connsiteX14" fmla="*/ 294503 w 294502"/>
                <a:gd name="connsiteY14" fmla="*/ 105032 h 296562"/>
                <a:gd name="connsiteX15" fmla="*/ 294503 w 294502"/>
                <a:gd name="connsiteY15" fmla="*/ 187411 h 296562"/>
                <a:gd name="connsiteX16" fmla="*/ 245076 w 294502"/>
                <a:gd name="connsiteY16" fmla="*/ 203886 h 296562"/>
                <a:gd name="connsiteX17" fmla="*/ 245076 w 294502"/>
                <a:gd name="connsiteY17" fmla="*/ 203886 h 296562"/>
                <a:gd name="connsiteX18" fmla="*/ 255373 w 294502"/>
                <a:gd name="connsiteY18" fmla="*/ 255373 h 296562"/>
                <a:gd name="connsiteX19" fmla="*/ 185351 w 294502"/>
                <a:gd name="connsiteY19" fmla="*/ 296562 h 296562"/>
                <a:gd name="connsiteX20" fmla="*/ 162697 w 294502"/>
                <a:gd name="connsiteY20" fmla="*/ 212124 h 296562"/>
                <a:gd name="connsiteX21" fmla="*/ 191530 w 294502"/>
                <a:gd name="connsiteY21" fmla="*/ 236838 h 296562"/>
                <a:gd name="connsiteX22" fmla="*/ 201827 w 294502"/>
                <a:gd name="connsiteY22" fmla="*/ 230659 h 296562"/>
                <a:gd name="connsiteX23" fmla="*/ 193589 w 294502"/>
                <a:gd name="connsiteY23" fmla="*/ 193589 h 296562"/>
                <a:gd name="connsiteX24" fmla="*/ 199768 w 294502"/>
                <a:gd name="connsiteY24" fmla="*/ 185351 h 296562"/>
                <a:gd name="connsiteX25" fmla="*/ 205946 w 294502"/>
                <a:gd name="connsiteY25" fmla="*/ 175054 h 296562"/>
                <a:gd name="connsiteX26" fmla="*/ 210065 w 294502"/>
                <a:gd name="connsiteY26" fmla="*/ 164757 h 296562"/>
                <a:gd name="connsiteX27" fmla="*/ 247135 w 294502"/>
                <a:gd name="connsiteY27" fmla="*/ 152400 h 296562"/>
                <a:gd name="connsiteX28" fmla="*/ 247135 w 294502"/>
                <a:gd name="connsiteY28" fmla="*/ 140043 h 296562"/>
                <a:gd name="connsiteX29" fmla="*/ 216243 w 294502"/>
                <a:gd name="connsiteY29" fmla="*/ 129746 h 296562"/>
                <a:gd name="connsiteX30" fmla="*/ 212124 w 294502"/>
                <a:gd name="connsiteY30" fmla="*/ 125627 h 296562"/>
                <a:gd name="connsiteX31" fmla="*/ 203887 w 294502"/>
                <a:gd name="connsiteY31" fmla="*/ 115330 h 296562"/>
                <a:gd name="connsiteX32" fmla="*/ 224481 w 294502"/>
                <a:gd name="connsiteY32" fmla="*/ 102973 h 296562"/>
                <a:gd name="connsiteX33" fmla="*/ 203887 w 294502"/>
                <a:gd name="connsiteY33" fmla="*/ 115330 h 296562"/>
                <a:gd name="connsiteX34" fmla="*/ 193589 w 294502"/>
                <a:gd name="connsiteY34" fmla="*/ 100914 h 296562"/>
                <a:gd name="connsiteX35" fmla="*/ 201827 w 294502"/>
                <a:gd name="connsiteY35" fmla="*/ 63843 h 296562"/>
                <a:gd name="connsiteX36" fmla="*/ 191530 w 294502"/>
                <a:gd name="connsiteY36" fmla="*/ 57665 h 296562"/>
                <a:gd name="connsiteX37" fmla="*/ 162697 w 294502"/>
                <a:gd name="connsiteY37" fmla="*/ 82378 h 296562"/>
                <a:gd name="connsiteX38" fmla="*/ 152400 w 294502"/>
                <a:gd name="connsiteY38" fmla="*/ 82378 h 296562"/>
                <a:gd name="connsiteX39" fmla="*/ 142103 w 294502"/>
                <a:gd name="connsiteY39" fmla="*/ 82378 h 296562"/>
                <a:gd name="connsiteX40" fmla="*/ 131805 w 294502"/>
                <a:gd name="connsiteY40" fmla="*/ 82378 h 296562"/>
                <a:gd name="connsiteX41" fmla="*/ 102973 w 294502"/>
                <a:gd name="connsiteY41" fmla="*/ 57665 h 296562"/>
                <a:gd name="connsiteX42" fmla="*/ 92676 w 294502"/>
                <a:gd name="connsiteY42" fmla="*/ 63843 h 296562"/>
                <a:gd name="connsiteX43" fmla="*/ 100914 w 294502"/>
                <a:gd name="connsiteY43" fmla="*/ 100914 h 296562"/>
                <a:gd name="connsiteX44" fmla="*/ 94735 w 294502"/>
                <a:gd name="connsiteY44" fmla="*/ 109151 h 296562"/>
                <a:gd name="connsiteX45" fmla="*/ 88557 w 294502"/>
                <a:gd name="connsiteY45" fmla="*/ 119449 h 296562"/>
                <a:gd name="connsiteX46" fmla="*/ 84438 w 294502"/>
                <a:gd name="connsiteY46" fmla="*/ 129746 h 296562"/>
                <a:gd name="connsiteX47" fmla="*/ 49427 w 294502"/>
                <a:gd name="connsiteY47" fmla="*/ 142103 h 296562"/>
                <a:gd name="connsiteX48" fmla="*/ 49427 w 294502"/>
                <a:gd name="connsiteY48" fmla="*/ 154459 h 296562"/>
                <a:gd name="connsiteX49" fmla="*/ 84438 w 294502"/>
                <a:gd name="connsiteY49" fmla="*/ 166816 h 296562"/>
                <a:gd name="connsiteX50" fmla="*/ 94735 w 294502"/>
                <a:gd name="connsiteY50" fmla="*/ 187411 h 296562"/>
                <a:gd name="connsiteX51" fmla="*/ 100914 w 294502"/>
                <a:gd name="connsiteY51" fmla="*/ 195649 h 296562"/>
                <a:gd name="connsiteX52" fmla="*/ 92676 w 294502"/>
                <a:gd name="connsiteY52" fmla="*/ 232719 h 296562"/>
                <a:gd name="connsiteX53" fmla="*/ 102973 w 294502"/>
                <a:gd name="connsiteY53" fmla="*/ 238897 h 296562"/>
                <a:gd name="connsiteX54" fmla="*/ 131805 w 294502"/>
                <a:gd name="connsiteY54" fmla="*/ 214184 h 296562"/>
                <a:gd name="connsiteX55" fmla="*/ 142103 w 294502"/>
                <a:gd name="connsiteY55" fmla="*/ 214184 h 296562"/>
                <a:gd name="connsiteX56" fmla="*/ 152400 w 294502"/>
                <a:gd name="connsiteY56" fmla="*/ 214184 h 296562"/>
                <a:gd name="connsiteX57" fmla="*/ 162697 w 294502"/>
                <a:gd name="connsiteY57" fmla="*/ 212124 h 29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4502" h="296562">
                  <a:moveTo>
                    <a:pt x="185351" y="296562"/>
                  </a:moveTo>
                  <a:lnTo>
                    <a:pt x="146222" y="261551"/>
                  </a:lnTo>
                  <a:lnTo>
                    <a:pt x="107092" y="296562"/>
                  </a:lnTo>
                  <a:lnTo>
                    <a:pt x="39130" y="255373"/>
                  </a:lnTo>
                  <a:lnTo>
                    <a:pt x="49427" y="205946"/>
                  </a:lnTo>
                  <a:lnTo>
                    <a:pt x="0" y="189470"/>
                  </a:lnTo>
                  <a:lnTo>
                    <a:pt x="0" y="107092"/>
                  </a:lnTo>
                  <a:lnTo>
                    <a:pt x="49427" y="90616"/>
                  </a:lnTo>
                  <a:lnTo>
                    <a:pt x="39130" y="41189"/>
                  </a:lnTo>
                  <a:lnTo>
                    <a:pt x="107092" y="0"/>
                  </a:lnTo>
                  <a:lnTo>
                    <a:pt x="146222" y="35011"/>
                  </a:lnTo>
                  <a:lnTo>
                    <a:pt x="185351" y="0"/>
                  </a:lnTo>
                  <a:lnTo>
                    <a:pt x="255373" y="41189"/>
                  </a:lnTo>
                  <a:lnTo>
                    <a:pt x="245076" y="90616"/>
                  </a:lnTo>
                  <a:lnTo>
                    <a:pt x="294503" y="105032"/>
                  </a:lnTo>
                  <a:lnTo>
                    <a:pt x="294503" y="187411"/>
                  </a:lnTo>
                  <a:lnTo>
                    <a:pt x="245076" y="203886"/>
                  </a:lnTo>
                  <a:cubicBezTo>
                    <a:pt x="245076" y="203886"/>
                    <a:pt x="245076" y="203886"/>
                    <a:pt x="245076" y="203886"/>
                  </a:cubicBezTo>
                  <a:lnTo>
                    <a:pt x="255373" y="255373"/>
                  </a:lnTo>
                  <a:lnTo>
                    <a:pt x="185351" y="296562"/>
                  </a:lnTo>
                  <a:close/>
                  <a:moveTo>
                    <a:pt x="162697" y="212124"/>
                  </a:moveTo>
                  <a:lnTo>
                    <a:pt x="191530" y="236838"/>
                  </a:lnTo>
                  <a:lnTo>
                    <a:pt x="201827" y="230659"/>
                  </a:lnTo>
                  <a:lnTo>
                    <a:pt x="193589" y="193589"/>
                  </a:lnTo>
                  <a:lnTo>
                    <a:pt x="199768" y="185351"/>
                  </a:lnTo>
                  <a:cubicBezTo>
                    <a:pt x="201827" y="181232"/>
                    <a:pt x="203887" y="179173"/>
                    <a:pt x="205946" y="175054"/>
                  </a:cubicBezTo>
                  <a:lnTo>
                    <a:pt x="210065" y="164757"/>
                  </a:lnTo>
                  <a:lnTo>
                    <a:pt x="247135" y="152400"/>
                  </a:lnTo>
                  <a:lnTo>
                    <a:pt x="247135" y="140043"/>
                  </a:lnTo>
                  <a:lnTo>
                    <a:pt x="216243" y="129746"/>
                  </a:lnTo>
                  <a:lnTo>
                    <a:pt x="212124" y="125627"/>
                  </a:lnTo>
                  <a:cubicBezTo>
                    <a:pt x="208005" y="121508"/>
                    <a:pt x="205946" y="117389"/>
                    <a:pt x="203887" y="115330"/>
                  </a:cubicBezTo>
                  <a:lnTo>
                    <a:pt x="224481" y="102973"/>
                  </a:lnTo>
                  <a:lnTo>
                    <a:pt x="203887" y="115330"/>
                  </a:lnTo>
                  <a:lnTo>
                    <a:pt x="193589" y="100914"/>
                  </a:lnTo>
                  <a:lnTo>
                    <a:pt x="201827" y="63843"/>
                  </a:lnTo>
                  <a:lnTo>
                    <a:pt x="191530" y="57665"/>
                  </a:lnTo>
                  <a:lnTo>
                    <a:pt x="162697" y="82378"/>
                  </a:lnTo>
                  <a:lnTo>
                    <a:pt x="152400" y="82378"/>
                  </a:lnTo>
                  <a:cubicBezTo>
                    <a:pt x="148281" y="82378"/>
                    <a:pt x="144162" y="82378"/>
                    <a:pt x="142103" y="82378"/>
                  </a:cubicBezTo>
                  <a:lnTo>
                    <a:pt x="131805" y="82378"/>
                  </a:lnTo>
                  <a:lnTo>
                    <a:pt x="102973" y="57665"/>
                  </a:lnTo>
                  <a:lnTo>
                    <a:pt x="92676" y="63843"/>
                  </a:lnTo>
                  <a:lnTo>
                    <a:pt x="100914" y="100914"/>
                  </a:lnTo>
                  <a:lnTo>
                    <a:pt x="94735" y="109151"/>
                  </a:lnTo>
                  <a:cubicBezTo>
                    <a:pt x="92676" y="111211"/>
                    <a:pt x="90616" y="115330"/>
                    <a:pt x="88557" y="119449"/>
                  </a:cubicBezTo>
                  <a:lnTo>
                    <a:pt x="84438" y="129746"/>
                  </a:lnTo>
                  <a:lnTo>
                    <a:pt x="49427" y="142103"/>
                  </a:lnTo>
                  <a:lnTo>
                    <a:pt x="49427" y="154459"/>
                  </a:lnTo>
                  <a:lnTo>
                    <a:pt x="84438" y="166816"/>
                  </a:lnTo>
                  <a:lnTo>
                    <a:pt x="94735" y="187411"/>
                  </a:lnTo>
                  <a:lnTo>
                    <a:pt x="100914" y="195649"/>
                  </a:lnTo>
                  <a:lnTo>
                    <a:pt x="92676" y="232719"/>
                  </a:lnTo>
                  <a:lnTo>
                    <a:pt x="102973" y="238897"/>
                  </a:lnTo>
                  <a:lnTo>
                    <a:pt x="131805" y="214184"/>
                  </a:lnTo>
                  <a:lnTo>
                    <a:pt x="142103" y="214184"/>
                  </a:lnTo>
                  <a:cubicBezTo>
                    <a:pt x="146222" y="214184"/>
                    <a:pt x="150341" y="214184"/>
                    <a:pt x="152400" y="214184"/>
                  </a:cubicBezTo>
                  <a:lnTo>
                    <a:pt x="162697" y="212124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B9A6B12-9CD3-AF2D-BA4B-725166CB2D0B}"/>
              </a:ext>
            </a:extLst>
          </p:cNvPr>
          <p:cNvGrpSpPr/>
          <p:nvPr/>
        </p:nvGrpSpPr>
        <p:grpSpPr>
          <a:xfrm>
            <a:off x="4640782" y="5381311"/>
            <a:ext cx="617167" cy="600258"/>
            <a:chOff x="8006715" y="3818517"/>
            <a:chExt cx="751702" cy="731107"/>
          </a:xfrm>
          <a:solidFill>
            <a:schemeClr val="tx1"/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258A477-2E75-B82C-38B5-470C9502B247}"/>
                </a:ext>
              </a:extLst>
            </p:cNvPr>
            <p:cNvSpPr/>
            <p:nvPr/>
          </p:nvSpPr>
          <p:spPr>
            <a:xfrm>
              <a:off x="8280623" y="4057414"/>
              <a:ext cx="477794" cy="492210"/>
            </a:xfrm>
            <a:custGeom>
              <a:avLst/>
              <a:gdLst>
                <a:gd name="connsiteX0" fmla="*/ 296562 w 477794"/>
                <a:gd name="connsiteY0" fmla="*/ 492211 h 492210"/>
                <a:gd name="connsiteX1" fmla="*/ 179173 w 477794"/>
                <a:gd name="connsiteY1" fmla="*/ 492211 h 492210"/>
                <a:gd name="connsiteX2" fmla="*/ 152400 w 477794"/>
                <a:gd name="connsiteY2" fmla="*/ 407773 h 492210"/>
                <a:gd name="connsiteX3" fmla="*/ 144162 w 477794"/>
                <a:gd name="connsiteY3" fmla="*/ 401595 h 492210"/>
                <a:gd name="connsiteX4" fmla="*/ 57665 w 477794"/>
                <a:gd name="connsiteY4" fmla="*/ 418070 h 492210"/>
                <a:gd name="connsiteX5" fmla="*/ 0 w 477794"/>
                <a:gd name="connsiteY5" fmla="*/ 317157 h 492210"/>
                <a:gd name="connsiteX6" fmla="*/ 59724 w 477794"/>
                <a:gd name="connsiteY6" fmla="*/ 251254 h 492210"/>
                <a:gd name="connsiteX7" fmla="*/ 59724 w 477794"/>
                <a:gd name="connsiteY7" fmla="*/ 245076 h 492210"/>
                <a:gd name="connsiteX8" fmla="*/ 59724 w 477794"/>
                <a:gd name="connsiteY8" fmla="*/ 238897 h 492210"/>
                <a:gd name="connsiteX9" fmla="*/ 2059 w 477794"/>
                <a:gd name="connsiteY9" fmla="*/ 172995 h 492210"/>
                <a:gd name="connsiteX10" fmla="*/ 59724 w 477794"/>
                <a:gd name="connsiteY10" fmla="*/ 72081 h 492210"/>
                <a:gd name="connsiteX11" fmla="*/ 146222 w 477794"/>
                <a:gd name="connsiteY11" fmla="*/ 88557 h 492210"/>
                <a:gd name="connsiteX12" fmla="*/ 154459 w 477794"/>
                <a:gd name="connsiteY12" fmla="*/ 82378 h 492210"/>
                <a:gd name="connsiteX13" fmla="*/ 181232 w 477794"/>
                <a:gd name="connsiteY13" fmla="*/ 0 h 492210"/>
                <a:gd name="connsiteX14" fmla="*/ 298622 w 477794"/>
                <a:gd name="connsiteY14" fmla="*/ 0 h 492210"/>
                <a:gd name="connsiteX15" fmla="*/ 325395 w 477794"/>
                <a:gd name="connsiteY15" fmla="*/ 82378 h 492210"/>
                <a:gd name="connsiteX16" fmla="*/ 333632 w 477794"/>
                <a:gd name="connsiteY16" fmla="*/ 88557 h 492210"/>
                <a:gd name="connsiteX17" fmla="*/ 418070 w 477794"/>
                <a:gd name="connsiteY17" fmla="*/ 72081 h 492210"/>
                <a:gd name="connsiteX18" fmla="*/ 477795 w 477794"/>
                <a:gd name="connsiteY18" fmla="*/ 172995 h 492210"/>
                <a:gd name="connsiteX19" fmla="*/ 420130 w 477794"/>
                <a:gd name="connsiteY19" fmla="*/ 238897 h 492210"/>
                <a:gd name="connsiteX20" fmla="*/ 420130 w 477794"/>
                <a:gd name="connsiteY20" fmla="*/ 245076 h 492210"/>
                <a:gd name="connsiteX21" fmla="*/ 420130 w 477794"/>
                <a:gd name="connsiteY21" fmla="*/ 251254 h 492210"/>
                <a:gd name="connsiteX22" fmla="*/ 477795 w 477794"/>
                <a:gd name="connsiteY22" fmla="*/ 315097 h 492210"/>
                <a:gd name="connsiteX23" fmla="*/ 420130 w 477794"/>
                <a:gd name="connsiteY23" fmla="*/ 416011 h 492210"/>
                <a:gd name="connsiteX24" fmla="*/ 333632 w 477794"/>
                <a:gd name="connsiteY24" fmla="*/ 399535 h 492210"/>
                <a:gd name="connsiteX25" fmla="*/ 325395 w 477794"/>
                <a:gd name="connsiteY25" fmla="*/ 405714 h 492210"/>
                <a:gd name="connsiteX26" fmla="*/ 296562 w 477794"/>
                <a:gd name="connsiteY26" fmla="*/ 492211 h 492210"/>
                <a:gd name="connsiteX27" fmla="*/ 214184 w 477794"/>
                <a:gd name="connsiteY27" fmla="*/ 444843 h 492210"/>
                <a:gd name="connsiteX28" fmla="*/ 261551 w 477794"/>
                <a:gd name="connsiteY28" fmla="*/ 444843 h 492210"/>
                <a:gd name="connsiteX29" fmla="*/ 284205 w 477794"/>
                <a:gd name="connsiteY29" fmla="*/ 374822 h 492210"/>
                <a:gd name="connsiteX30" fmla="*/ 292443 w 477794"/>
                <a:gd name="connsiteY30" fmla="*/ 370703 h 492210"/>
                <a:gd name="connsiteX31" fmla="*/ 313038 w 477794"/>
                <a:gd name="connsiteY31" fmla="*/ 358346 h 492210"/>
                <a:gd name="connsiteX32" fmla="*/ 321276 w 477794"/>
                <a:gd name="connsiteY32" fmla="*/ 352168 h 492210"/>
                <a:gd name="connsiteX33" fmla="*/ 393357 w 477794"/>
                <a:gd name="connsiteY33" fmla="*/ 366584 h 492210"/>
                <a:gd name="connsiteX34" fmla="*/ 418070 w 477794"/>
                <a:gd name="connsiteY34" fmla="*/ 325395 h 492210"/>
                <a:gd name="connsiteX35" fmla="*/ 368643 w 477794"/>
                <a:gd name="connsiteY35" fmla="*/ 269789 h 492210"/>
                <a:gd name="connsiteX36" fmla="*/ 370703 w 477794"/>
                <a:gd name="connsiteY36" fmla="*/ 257432 h 492210"/>
                <a:gd name="connsiteX37" fmla="*/ 370703 w 477794"/>
                <a:gd name="connsiteY37" fmla="*/ 247135 h 492210"/>
                <a:gd name="connsiteX38" fmla="*/ 370703 w 477794"/>
                <a:gd name="connsiteY38" fmla="*/ 245076 h 492210"/>
                <a:gd name="connsiteX39" fmla="*/ 370703 w 477794"/>
                <a:gd name="connsiteY39" fmla="*/ 232719 h 492210"/>
                <a:gd name="connsiteX40" fmla="*/ 370703 w 477794"/>
                <a:gd name="connsiteY40" fmla="*/ 222422 h 492210"/>
                <a:gd name="connsiteX41" fmla="*/ 418070 w 477794"/>
                <a:gd name="connsiteY41" fmla="*/ 168876 h 492210"/>
                <a:gd name="connsiteX42" fmla="*/ 393357 w 477794"/>
                <a:gd name="connsiteY42" fmla="*/ 127686 h 492210"/>
                <a:gd name="connsiteX43" fmla="*/ 323335 w 477794"/>
                <a:gd name="connsiteY43" fmla="*/ 144162 h 492210"/>
                <a:gd name="connsiteX44" fmla="*/ 315097 w 477794"/>
                <a:gd name="connsiteY44" fmla="*/ 137984 h 492210"/>
                <a:gd name="connsiteX45" fmla="*/ 294503 w 477794"/>
                <a:gd name="connsiteY45" fmla="*/ 125627 h 492210"/>
                <a:gd name="connsiteX46" fmla="*/ 286265 w 477794"/>
                <a:gd name="connsiteY46" fmla="*/ 121508 h 492210"/>
                <a:gd name="connsiteX47" fmla="*/ 263611 w 477794"/>
                <a:gd name="connsiteY47" fmla="*/ 51486 h 492210"/>
                <a:gd name="connsiteX48" fmla="*/ 214184 w 477794"/>
                <a:gd name="connsiteY48" fmla="*/ 51486 h 492210"/>
                <a:gd name="connsiteX49" fmla="*/ 191530 w 477794"/>
                <a:gd name="connsiteY49" fmla="*/ 121508 h 492210"/>
                <a:gd name="connsiteX50" fmla="*/ 183292 w 477794"/>
                <a:gd name="connsiteY50" fmla="*/ 125627 h 492210"/>
                <a:gd name="connsiteX51" fmla="*/ 162697 w 477794"/>
                <a:gd name="connsiteY51" fmla="*/ 137984 h 492210"/>
                <a:gd name="connsiteX52" fmla="*/ 154459 w 477794"/>
                <a:gd name="connsiteY52" fmla="*/ 144162 h 492210"/>
                <a:gd name="connsiteX53" fmla="*/ 82378 w 477794"/>
                <a:gd name="connsiteY53" fmla="*/ 129746 h 492210"/>
                <a:gd name="connsiteX54" fmla="*/ 57665 w 477794"/>
                <a:gd name="connsiteY54" fmla="*/ 170935 h 492210"/>
                <a:gd name="connsiteX55" fmla="*/ 107092 w 477794"/>
                <a:gd name="connsiteY55" fmla="*/ 224481 h 492210"/>
                <a:gd name="connsiteX56" fmla="*/ 107092 w 477794"/>
                <a:gd name="connsiteY56" fmla="*/ 234778 h 492210"/>
                <a:gd name="connsiteX57" fmla="*/ 107092 w 477794"/>
                <a:gd name="connsiteY57" fmla="*/ 247135 h 492210"/>
                <a:gd name="connsiteX58" fmla="*/ 107092 w 477794"/>
                <a:gd name="connsiteY58" fmla="*/ 271849 h 492210"/>
                <a:gd name="connsiteX59" fmla="*/ 59724 w 477794"/>
                <a:gd name="connsiteY59" fmla="*/ 325395 h 492210"/>
                <a:gd name="connsiteX60" fmla="*/ 84438 w 477794"/>
                <a:gd name="connsiteY60" fmla="*/ 366584 h 492210"/>
                <a:gd name="connsiteX61" fmla="*/ 156519 w 477794"/>
                <a:gd name="connsiteY61" fmla="*/ 352168 h 492210"/>
                <a:gd name="connsiteX62" fmla="*/ 164757 w 477794"/>
                <a:gd name="connsiteY62" fmla="*/ 358346 h 492210"/>
                <a:gd name="connsiteX63" fmla="*/ 185351 w 477794"/>
                <a:gd name="connsiteY63" fmla="*/ 370703 h 492210"/>
                <a:gd name="connsiteX64" fmla="*/ 193589 w 477794"/>
                <a:gd name="connsiteY64" fmla="*/ 374822 h 492210"/>
                <a:gd name="connsiteX65" fmla="*/ 214184 w 477794"/>
                <a:gd name="connsiteY65" fmla="*/ 444843 h 49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477794" h="492210">
                  <a:moveTo>
                    <a:pt x="296562" y="492211"/>
                  </a:moveTo>
                  <a:lnTo>
                    <a:pt x="179173" y="492211"/>
                  </a:lnTo>
                  <a:lnTo>
                    <a:pt x="152400" y="407773"/>
                  </a:lnTo>
                  <a:cubicBezTo>
                    <a:pt x="150341" y="405714"/>
                    <a:pt x="146222" y="403654"/>
                    <a:pt x="144162" y="401595"/>
                  </a:cubicBezTo>
                  <a:lnTo>
                    <a:pt x="57665" y="418070"/>
                  </a:lnTo>
                  <a:lnTo>
                    <a:pt x="0" y="317157"/>
                  </a:lnTo>
                  <a:lnTo>
                    <a:pt x="59724" y="251254"/>
                  </a:lnTo>
                  <a:lnTo>
                    <a:pt x="59724" y="245076"/>
                  </a:lnTo>
                  <a:cubicBezTo>
                    <a:pt x="59724" y="243016"/>
                    <a:pt x="59724" y="240957"/>
                    <a:pt x="59724" y="238897"/>
                  </a:cubicBezTo>
                  <a:lnTo>
                    <a:pt x="2059" y="172995"/>
                  </a:lnTo>
                  <a:lnTo>
                    <a:pt x="59724" y="72081"/>
                  </a:lnTo>
                  <a:lnTo>
                    <a:pt x="146222" y="88557"/>
                  </a:lnTo>
                  <a:cubicBezTo>
                    <a:pt x="148281" y="86497"/>
                    <a:pt x="152400" y="84438"/>
                    <a:pt x="154459" y="82378"/>
                  </a:cubicBezTo>
                  <a:lnTo>
                    <a:pt x="181232" y="0"/>
                  </a:lnTo>
                  <a:lnTo>
                    <a:pt x="298622" y="0"/>
                  </a:lnTo>
                  <a:lnTo>
                    <a:pt x="325395" y="82378"/>
                  </a:lnTo>
                  <a:cubicBezTo>
                    <a:pt x="329514" y="84438"/>
                    <a:pt x="331573" y="86497"/>
                    <a:pt x="333632" y="88557"/>
                  </a:cubicBezTo>
                  <a:lnTo>
                    <a:pt x="418070" y="72081"/>
                  </a:lnTo>
                  <a:lnTo>
                    <a:pt x="477795" y="172995"/>
                  </a:lnTo>
                  <a:lnTo>
                    <a:pt x="420130" y="238897"/>
                  </a:lnTo>
                  <a:cubicBezTo>
                    <a:pt x="420130" y="240957"/>
                    <a:pt x="420130" y="243016"/>
                    <a:pt x="420130" y="245076"/>
                  </a:cubicBezTo>
                  <a:cubicBezTo>
                    <a:pt x="420130" y="247135"/>
                    <a:pt x="420130" y="249195"/>
                    <a:pt x="420130" y="251254"/>
                  </a:cubicBezTo>
                  <a:lnTo>
                    <a:pt x="477795" y="315097"/>
                  </a:lnTo>
                  <a:lnTo>
                    <a:pt x="420130" y="416011"/>
                  </a:lnTo>
                  <a:lnTo>
                    <a:pt x="333632" y="399535"/>
                  </a:lnTo>
                  <a:cubicBezTo>
                    <a:pt x="331573" y="401595"/>
                    <a:pt x="327454" y="403654"/>
                    <a:pt x="325395" y="405714"/>
                  </a:cubicBezTo>
                  <a:lnTo>
                    <a:pt x="296562" y="492211"/>
                  </a:lnTo>
                  <a:close/>
                  <a:moveTo>
                    <a:pt x="214184" y="444843"/>
                  </a:moveTo>
                  <a:lnTo>
                    <a:pt x="261551" y="444843"/>
                  </a:lnTo>
                  <a:lnTo>
                    <a:pt x="284205" y="374822"/>
                  </a:lnTo>
                  <a:lnTo>
                    <a:pt x="292443" y="370703"/>
                  </a:lnTo>
                  <a:cubicBezTo>
                    <a:pt x="298622" y="366584"/>
                    <a:pt x="306859" y="362465"/>
                    <a:pt x="313038" y="358346"/>
                  </a:cubicBezTo>
                  <a:lnTo>
                    <a:pt x="321276" y="352168"/>
                  </a:lnTo>
                  <a:lnTo>
                    <a:pt x="393357" y="366584"/>
                  </a:lnTo>
                  <a:lnTo>
                    <a:pt x="418070" y="325395"/>
                  </a:lnTo>
                  <a:lnTo>
                    <a:pt x="368643" y="269789"/>
                  </a:lnTo>
                  <a:lnTo>
                    <a:pt x="370703" y="257432"/>
                  </a:lnTo>
                  <a:cubicBezTo>
                    <a:pt x="370703" y="253314"/>
                    <a:pt x="370703" y="251254"/>
                    <a:pt x="370703" y="247135"/>
                  </a:cubicBezTo>
                  <a:lnTo>
                    <a:pt x="370703" y="245076"/>
                  </a:lnTo>
                  <a:cubicBezTo>
                    <a:pt x="370703" y="240957"/>
                    <a:pt x="370703" y="236838"/>
                    <a:pt x="370703" y="232719"/>
                  </a:cubicBezTo>
                  <a:lnTo>
                    <a:pt x="370703" y="222422"/>
                  </a:lnTo>
                  <a:lnTo>
                    <a:pt x="418070" y="168876"/>
                  </a:lnTo>
                  <a:lnTo>
                    <a:pt x="393357" y="127686"/>
                  </a:lnTo>
                  <a:lnTo>
                    <a:pt x="323335" y="144162"/>
                  </a:lnTo>
                  <a:lnTo>
                    <a:pt x="315097" y="137984"/>
                  </a:lnTo>
                  <a:cubicBezTo>
                    <a:pt x="308919" y="133865"/>
                    <a:pt x="302741" y="129746"/>
                    <a:pt x="294503" y="125627"/>
                  </a:cubicBezTo>
                  <a:lnTo>
                    <a:pt x="286265" y="121508"/>
                  </a:lnTo>
                  <a:lnTo>
                    <a:pt x="263611" y="51486"/>
                  </a:lnTo>
                  <a:lnTo>
                    <a:pt x="214184" y="51486"/>
                  </a:lnTo>
                  <a:lnTo>
                    <a:pt x="191530" y="121508"/>
                  </a:lnTo>
                  <a:lnTo>
                    <a:pt x="183292" y="125627"/>
                  </a:lnTo>
                  <a:cubicBezTo>
                    <a:pt x="177114" y="129746"/>
                    <a:pt x="168876" y="133865"/>
                    <a:pt x="162697" y="137984"/>
                  </a:cubicBezTo>
                  <a:lnTo>
                    <a:pt x="154459" y="144162"/>
                  </a:lnTo>
                  <a:lnTo>
                    <a:pt x="82378" y="129746"/>
                  </a:lnTo>
                  <a:lnTo>
                    <a:pt x="57665" y="170935"/>
                  </a:lnTo>
                  <a:lnTo>
                    <a:pt x="107092" y="224481"/>
                  </a:lnTo>
                  <a:lnTo>
                    <a:pt x="107092" y="234778"/>
                  </a:lnTo>
                  <a:cubicBezTo>
                    <a:pt x="107092" y="238897"/>
                    <a:pt x="107092" y="243016"/>
                    <a:pt x="107092" y="247135"/>
                  </a:cubicBezTo>
                  <a:lnTo>
                    <a:pt x="107092" y="271849"/>
                  </a:lnTo>
                  <a:lnTo>
                    <a:pt x="59724" y="325395"/>
                  </a:lnTo>
                  <a:lnTo>
                    <a:pt x="84438" y="366584"/>
                  </a:lnTo>
                  <a:lnTo>
                    <a:pt x="156519" y="352168"/>
                  </a:lnTo>
                  <a:lnTo>
                    <a:pt x="164757" y="358346"/>
                  </a:lnTo>
                  <a:cubicBezTo>
                    <a:pt x="170935" y="362465"/>
                    <a:pt x="177114" y="366584"/>
                    <a:pt x="185351" y="370703"/>
                  </a:cubicBezTo>
                  <a:lnTo>
                    <a:pt x="193589" y="374822"/>
                  </a:lnTo>
                  <a:lnTo>
                    <a:pt x="214184" y="444843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351E274-909F-AB9D-A079-A4CF3AD2D6EE}"/>
                </a:ext>
              </a:extLst>
            </p:cNvPr>
            <p:cNvSpPr/>
            <p:nvPr/>
          </p:nvSpPr>
          <p:spPr>
            <a:xfrm>
              <a:off x="8449498" y="4236587"/>
              <a:ext cx="140043" cy="140043"/>
            </a:xfrm>
            <a:custGeom>
              <a:avLst/>
              <a:gdLst>
                <a:gd name="connsiteX0" fmla="*/ 70022 w 140043"/>
                <a:gd name="connsiteY0" fmla="*/ 140043 h 140043"/>
                <a:gd name="connsiteX1" fmla="*/ 0 w 140043"/>
                <a:gd name="connsiteY1" fmla="*/ 70022 h 140043"/>
                <a:gd name="connsiteX2" fmla="*/ 70022 w 140043"/>
                <a:gd name="connsiteY2" fmla="*/ 0 h 140043"/>
                <a:gd name="connsiteX3" fmla="*/ 140043 w 140043"/>
                <a:gd name="connsiteY3" fmla="*/ 70022 h 140043"/>
                <a:gd name="connsiteX4" fmla="*/ 70022 w 140043"/>
                <a:gd name="connsiteY4" fmla="*/ 140043 h 140043"/>
                <a:gd name="connsiteX5" fmla="*/ 70022 w 140043"/>
                <a:gd name="connsiteY5" fmla="*/ 45308 h 140043"/>
                <a:gd name="connsiteX6" fmla="*/ 47368 w 140043"/>
                <a:gd name="connsiteY6" fmla="*/ 67962 h 140043"/>
                <a:gd name="connsiteX7" fmla="*/ 70022 w 140043"/>
                <a:gd name="connsiteY7" fmla="*/ 90616 h 140043"/>
                <a:gd name="connsiteX8" fmla="*/ 92676 w 140043"/>
                <a:gd name="connsiteY8" fmla="*/ 67962 h 140043"/>
                <a:gd name="connsiteX9" fmla="*/ 70022 w 140043"/>
                <a:gd name="connsiteY9" fmla="*/ 45308 h 1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43" h="140043">
                  <a:moveTo>
                    <a:pt x="70022" y="140043"/>
                  </a:moveTo>
                  <a:cubicBezTo>
                    <a:pt x="30892" y="140043"/>
                    <a:pt x="0" y="109151"/>
                    <a:pt x="0" y="70022"/>
                  </a:cubicBezTo>
                  <a:cubicBezTo>
                    <a:pt x="0" y="30892"/>
                    <a:pt x="30892" y="0"/>
                    <a:pt x="70022" y="0"/>
                  </a:cubicBezTo>
                  <a:cubicBezTo>
                    <a:pt x="109151" y="0"/>
                    <a:pt x="140043" y="30892"/>
                    <a:pt x="140043" y="70022"/>
                  </a:cubicBezTo>
                  <a:cubicBezTo>
                    <a:pt x="140043" y="109151"/>
                    <a:pt x="107092" y="140043"/>
                    <a:pt x="70022" y="140043"/>
                  </a:cubicBezTo>
                  <a:close/>
                  <a:moveTo>
                    <a:pt x="70022" y="45308"/>
                  </a:moveTo>
                  <a:cubicBezTo>
                    <a:pt x="57665" y="45308"/>
                    <a:pt x="47368" y="55605"/>
                    <a:pt x="47368" y="67962"/>
                  </a:cubicBezTo>
                  <a:cubicBezTo>
                    <a:pt x="47368" y="80319"/>
                    <a:pt x="57665" y="90616"/>
                    <a:pt x="70022" y="90616"/>
                  </a:cubicBezTo>
                  <a:cubicBezTo>
                    <a:pt x="82378" y="90616"/>
                    <a:pt x="92676" y="80319"/>
                    <a:pt x="92676" y="67962"/>
                  </a:cubicBezTo>
                  <a:cubicBezTo>
                    <a:pt x="92676" y="55605"/>
                    <a:pt x="82378" y="45308"/>
                    <a:pt x="70022" y="45308"/>
                  </a:cubicBez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99C9F8-7571-A3A1-E0E6-2CB307837580}"/>
                </a:ext>
              </a:extLst>
            </p:cNvPr>
            <p:cNvSpPr/>
            <p:nvPr/>
          </p:nvSpPr>
          <p:spPr>
            <a:xfrm>
              <a:off x="8115866" y="4197457"/>
              <a:ext cx="45308" cy="45308"/>
            </a:xfrm>
            <a:custGeom>
              <a:avLst/>
              <a:gdLst>
                <a:gd name="connsiteX0" fmla="*/ 22654 w 45308"/>
                <a:gd name="connsiteY0" fmla="*/ 0 h 45308"/>
                <a:gd name="connsiteX1" fmla="*/ 0 w 45308"/>
                <a:gd name="connsiteY1" fmla="*/ 22654 h 45308"/>
                <a:gd name="connsiteX2" fmla="*/ 22654 w 45308"/>
                <a:gd name="connsiteY2" fmla="*/ 45308 h 45308"/>
                <a:gd name="connsiteX3" fmla="*/ 45308 w 45308"/>
                <a:gd name="connsiteY3" fmla="*/ 22654 h 45308"/>
                <a:gd name="connsiteX4" fmla="*/ 22654 w 45308"/>
                <a:gd name="connsiteY4" fmla="*/ 0 h 45308"/>
                <a:gd name="connsiteX5" fmla="*/ 22654 w 45308"/>
                <a:gd name="connsiteY5" fmla="*/ 0 h 4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08" h="45308">
                  <a:moveTo>
                    <a:pt x="22654" y="0"/>
                  </a:moveTo>
                  <a:cubicBezTo>
                    <a:pt x="10297" y="0"/>
                    <a:pt x="0" y="10297"/>
                    <a:pt x="0" y="22654"/>
                  </a:cubicBezTo>
                  <a:cubicBezTo>
                    <a:pt x="0" y="35011"/>
                    <a:pt x="10297" y="45308"/>
                    <a:pt x="22654" y="45308"/>
                  </a:cubicBezTo>
                  <a:cubicBezTo>
                    <a:pt x="35011" y="45308"/>
                    <a:pt x="45308" y="35011"/>
                    <a:pt x="45308" y="22654"/>
                  </a:cubicBezTo>
                  <a:cubicBezTo>
                    <a:pt x="45308" y="10297"/>
                    <a:pt x="35011" y="0"/>
                    <a:pt x="22654" y="0"/>
                  </a:cubicBezTo>
                  <a:lnTo>
                    <a:pt x="22654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19DDFC8-B4A4-B3BB-F2CD-AB7A7AD8D0FA}"/>
                </a:ext>
              </a:extLst>
            </p:cNvPr>
            <p:cNvSpPr/>
            <p:nvPr/>
          </p:nvSpPr>
          <p:spPr>
            <a:xfrm>
              <a:off x="8006715" y="4090365"/>
              <a:ext cx="263610" cy="261551"/>
            </a:xfrm>
            <a:custGeom>
              <a:avLst/>
              <a:gdLst>
                <a:gd name="connsiteX0" fmla="*/ 166816 w 263610"/>
                <a:gd name="connsiteY0" fmla="*/ 261551 h 261551"/>
                <a:gd name="connsiteX1" fmla="*/ 96795 w 263610"/>
                <a:gd name="connsiteY1" fmla="*/ 261551 h 261551"/>
                <a:gd name="connsiteX2" fmla="*/ 82378 w 263610"/>
                <a:gd name="connsiteY2" fmla="*/ 218303 h 261551"/>
                <a:gd name="connsiteX3" fmla="*/ 37070 w 263610"/>
                <a:gd name="connsiteY3" fmla="*/ 226541 h 261551"/>
                <a:gd name="connsiteX4" fmla="*/ 0 w 263610"/>
                <a:gd name="connsiteY4" fmla="*/ 164757 h 261551"/>
                <a:gd name="connsiteX5" fmla="*/ 30892 w 263610"/>
                <a:gd name="connsiteY5" fmla="*/ 131805 h 261551"/>
                <a:gd name="connsiteX6" fmla="*/ 0 w 263610"/>
                <a:gd name="connsiteY6" fmla="*/ 96795 h 261551"/>
                <a:gd name="connsiteX7" fmla="*/ 35011 w 263610"/>
                <a:gd name="connsiteY7" fmla="*/ 35011 h 261551"/>
                <a:gd name="connsiteX8" fmla="*/ 82378 w 263610"/>
                <a:gd name="connsiteY8" fmla="*/ 43249 h 261551"/>
                <a:gd name="connsiteX9" fmla="*/ 96795 w 263610"/>
                <a:gd name="connsiteY9" fmla="*/ 0 h 261551"/>
                <a:gd name="connsiteX10" fmla="*/ 168876 w 263610"/>
                <a:gd name="connsiteY10" fmla="*/ 0 h 261551"/>
                <a:gd name="connsiteX11" fmla="*/ 183292 w 263610"/>
                <a:gd name="connsiteY11" fmla="*/ 45308 h 261551"/>
                <a:gd name="connsiteX12" fmla="*/ 226541 w 263610"/>
                <a:gd name="connsiteY12" fmla="*/ 35011 h 261551"/>
                <a:gd name="connsiteX13" fmla="*/ 263611 w 263610"/>
                <a:gd name="connsiteY13" fmla="*/ 96795 h 261551"/>
                <a:gd name="connsiteX14" fmla="*/ 232719 w 263610"/>
                <a:gd name="connsiteY14" fmla="*/ 131805 h 261551"/>
                <a:gd name="connsiteX15" fmla="*/ 263611 w 263610"/>
                <a:gd name="connsiteY15" fmla="*/ 166816 h 261551"/>
                <a:gd name="connsiteX16" fmla="*/ 228600 w 263610"/>
                <a:gd name="connsiteY16" fmla="*/ 228600 h 261551"/>
                <a:gd name="connsiteX17" fmla="*/ 183292 w 263610"/>
                <a:gd name="connsiteY17" fmla="*/ 220362 h 261551"/>
                <a:gd name="connsiteX18" fmla="*/ 166816 w 263610"/>
                <a:gd name="connsiteY18" fmla="*/ 261551 h 261551"/>
                <a:gd name="connsiteX19" fmla="*/ 125627 w 263610"/>
                <a:gd name="connsiteY19" fmla="*/ 220362 h 261551"/>
                <a:gd name="connsiteX20" fmla="*/ 135924 w 263610"/>
                <a:gd name="connsiteY20" fmla="*/ 220362 h 261551"/>
                <a:gd name="connsiteX21" fmla="*/ 146222 w 263610"/>
                <a:gd name="connsiteY21" fmla="*/ 187411 h 261551"/>
                <a:gd name="connsiteX22" fmla="*/ 154459 w 263610"/>
                <a:gd name="connsiteY22" fmla="*/ 183292 h 261551"/>
                <a:gd name="connsiteX23" fmla="*/ 164757 w 263610"/>
                <a:gd name="connsiteY23" fmla="*/ 179173 h 261551"/>
                <a:gd name="connsiteX24" fmla="*/ 172995 w 263610"/>
                <a:gd name="connsiteY24" fmla="*/ 175054 h 261551"/>
                <a:gd name="connsiteX25" fmla="*/ 205946 w 263610"/>
                <a:gd name="connsiteY25" fmla="*/ 179173 h 261551"/>
                <a:gd name="connsiteX26" fmla="*/ 212124 w 263610"/>
                <a:gd name="connsiteY26" fmla="*/ 168876 h 261551"/>
                <a:gd name="connsiteX27" fmla="*/ 191530 w 263610"/>
                <a:gd name="connsiteY27" fmla="*/ 144162 h 261551"/>
                <a:gd name="connsiteX28" fmla="*/ 191530 w 263610"/>
                <a:gd name="connsiteY28" fmla="*/ 113270 h 261551"/>
                <a:gd name="connsiteX29" fmla="*/ 214184 w 263610"/>
                <a:gd name="connsiteY29" fmla="*/ 88557 h 261551"/>
                <a:gd name="connsiteX30" fmla="*/ 205946 w 263610"/>
                <a:gd name="connsiteY30" fmla="*/ 82378 h 261551"/>
                <a:gd name="connsiteX31" fmla="*/ 170935 w 263610"/>
                <a:gd name="connsiteY31" fmla="*/ 88557 h 261551"/>
                <a:gd name="connsiteX32" fmla="*/ 164757 w 263610"/>
                <a:gd name="connsiteY32" fmla="*/ 84438 h 261551"/>
                <a:gd name="connsiteX33" fmla="*/ 156519 w 263610"/>
                <a:gd name="connsiteY33" fmla="*/ 80319 h 261551"/>
                <a:gd name="connsiteX34" fmla="*/ 148281 w 263610"/>
                <a:gd name="connsiteY34" fmla="*/ 76200 h 261551"/>
                <a:gd name="connsiteX35" fmla="*/ 137984 w 263610"/>
                <a:gd name="connsiteY35" fmla="*/ 43249 h 261551"/>
                <a:gd name="connsiteX36" fmla="*/ 125627 w 263610"/>
                <a:gd name="connsiteY36" fmla="*/ 43249 h 261551"/>
                <a:gd name="connsiteX37" fmla="*/ 115330 w 263610"/>
                <a:gd name="connsiteY37" fmla="*/ 76200 h 261551"/>
                <a:gd name="connsiteX38" fmla="*/ 107092 w 263610"/>
                <a:gd name="connsiteY38" fmla="*/ 80319 h 261551"/>
                <a:gd name="connsiteX39" fmla="*/ 98854 w 263610"/>
                <a:gd name="connsiteY39" fmla="*/ 84438 h 261551"/>
                <a:gd name="connsiteX40" fmla="*/ 90616 w 263610"/>
                <a:gd name="connsiteY40" fmla="*/ 90616 h 261551"/>
                <a:gd name="connsiteX41" fmla="*/ 57665 w 263610"/>
                <a:gd name="connsiteY41" fmla="*/ 84438 h 261551"/>
                <a:gd name="connsiteX42" fmla="*/ 51486 w 263610"/>
                <a:gd name="connsiteY42" fmla="*/ 94735 h 261551"/>
                <a:gd name="connsiteX43" fmla="*/ 74141 w 263610"/>
                <a:gd name="connsiteY43" fmla="*/ 117389 h 261551"/>
                <a:gd name="connsiteX44" fmla="*/ 74141 w 263610"/>
                <a:gd name="connsiteY44" fmla="*/ 148281 h 261551"/>
                <a:gd name="connsiteX45" fmla="*/ 51486 w 263610"/>
                <a:gd name="connsiteY45" fmla="*/ 172995 h 261551"/>
                <a:gd name="connsiteX46" fmla="*/ 57665 w 263610"/>
                <a:gd name="connsiteY46" fmla="*/ 179173 h 261551"/>
                <a:gd name="connsiteX47" fmla="*/ 90616 w 263610"/>
                <a:gd name="connsiteY47" fmla="*/ 172995 h 261551"/>
                <a:gd name="connsiteX48" fmla="*/ 98854 w 263610"/>
                <a:gd name="connsiteY48" fmla="*/ 179173 h 261551"/>
                <a:gd name="connsiteX49" fmla="*/ 109151 w 263610"/>
                <a:gd name="connsiteY49" fmla="*/ 185351 h 261551"/>
                <a:gd name="connsiteX50" fmla="*/ 117389 w 263610"/>
                <a:gd name="connsiteY50" fmla="*/ 189470 h 261551"/>
                <a:gd name="connsiteX51" fmla="*/ 125627 w 263610"/>
                <a:gd name="connsiteY51" fmla="*/ 220362 h 26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3610" h="261551">
                  <a:moveTo>
                    <a:pt x="166816" y="261551"/>
                  </a:moveTo>
                  <a:lnTo>
                    <a:pt x="96795" y="261551"/>
                  </a:lnTo>
                  <a:lnTo>
                    <a:pt x="82378" y="218303"/>
                  </a:lnTo>
                  <a:lnTo>
                    <a:pt x="37070" y="226541"/>
                  </a:lnTo>
                  <a:lnTo>
                    <a:pt x="0" y="164757"/>
                  </a:lnTo>
                  <a:lnTo>
                    <a:pt x="30892" y="131805"/>
                  </a:lnTo>
                  <a:lnTo>
                    <a:pt x="0" y="96795"/>
                  </a:lnTo>
                  <a:lnTo>
                    <a:pt x="35011" y="35011"/>
                  </a:lnTo>
                  <a:lnTo>
                    <a:pt x="82378" y="43249"/>
                  </a:lnTo>
                  <a:lnTo>
                    <a:pt x="96795" y="0"/>
                  </a:lnTo>
                  <a:lnTo>
                    <a:pt x="168876" y="0"/>
                  </a:lnTo>
                  <a:lnTo>
                    <a:pt x="183292" y="45308"/>
                  </a:lnTo>
                  <a:lnTo>
                    <a:pt x="226541" y="35011"/>
                  </a:lnTo>
                  <a:lnTo>
                    <a:pt x="263611" y="96795"/>
                  </a:lnTo>
                  <a:lnTo>
                    <a:pt x="232719" y="131805"/>
                  </a:lnTo>
                  <a:lnTo>
                    <a:pt x="263611" y="166816"/>
                  </a:lnTo>
                  <a:lnTo>
                    <a:pt x="228600" y="228600"/>
                  </a:lnTo>
                  <a:lnTo>
                    <a:pt x="183292" y="220362"/>
                  </a:lnTo>
                  <a:lnTo>
                    <a:pt x="166816" y="261551"/>
                  </a:lnTo>
                  <a:close/>
                  <a:moveTo>
                    <a:pt x="125627" y="220362"/>
                  </a:moveTo>
                  <a:lnTo>
                    <a:pt x="135924" y="220362"/>
                  </a:lnTo>
                  <a:lnTo>
                    <a:pt x="146222" y="187411"/>
                  </a:lnTo>
                  <a:lnTo>
                    <a:pt x="154459" y="183292"/>
                  </a:lnTo>
                  <a:cubicBezTo>
                    <a:pt x="158578" y="183292"/>
                    <a:pt x="162697" y="181232"/>
                    <a:pt x="164757" y="179173"/>
                  </a:cubicBezTo>
                  <a:lnTo>
                    <a:pt x="172995" y="175054"/>
                  </a:lnTo>
                  <a:lnTo>
                    <a:pt x="205946" y="179173"/>
                  </a:lnTo>
                  <a:lnTo>
                    <a:pt x="212124" y="168876"/>
                  </a:lnTo>
                  <a:lnTo>
                    <a:pt x="191530" y="144162"/>
                  </a:lnTo>
                  <a:lnTo>
                    <a:pt x="191530" y="113270"/>
                  </a:lnTo>
                  <a:lnTo>
                    <a:pt x="214184" y="88557"/>
                  </a:lnTo>
                  <a:lnTo>
                    <a:pt x="205946" y="82378"/>
                  </a:lnTo>
                  <a:lnTo>
                    <a:pt x="170935" y="88557"/>
                  </a:lnTo>
                  <a:lnTo>
                    <a:pt x="164757" y="84438"/>
                  </a:lnTo>
                  <a:cubicBezTo>
                    <a:pt x="162697" y="82378"/>
                    <a:pt x="160638" y="80319"/>
                    <a:pt x="156519" y="80319"/>
                  </a:cubicBezTo>
                  <a:lnTo>
                    <a:pt x="148281" y="76200"/>
                  </a:lnTo>
                  <a:lnTo>
                    <a:pt x="137984" y="43249"/>
                  </a:lnTo>
                  <a:lnTo>
                    <a:pt x="125627" y="43249"/>
                  </a:lnTo>
                  <a:lnTo>
                    <a:pt x="115330" y="76200"/>
                  </a:lnTo>
                  <a:lnTo>
                    <a:pt x="107092" y="80319"/>
                  </a:lnTo>
                  <a:cubicBezTo>
                    <a:pt x="105032" y="82378"/>
                    <a:pt x="100914" y="82378"/>
                    <a:pt x="98854" y="84438"/>
                  </a:cubicBezTo>
                  <a:lnTo>
                    <a:pt x="90616" y="90616"/>
                  </a:lnTo>
                  <a:lnTo>
                    <a:pt x="57665" y="84438"/>
                  </a:lnTo>
                  <a:lnTo>
                    <a:pt x="51486" y="94735"/>
                  </a:lnTo>
                  <a:lnTo>
                    <a:pt x="74141" y="117389"/>
                  </a:lnTo>
                  <a:lnTo>
                    <a:pt x="74141" y="148281"/>
                  </a:lnTo>
                  <a:lnTo>
                    <a:pt x="51486" y="172995"/>
                  </a:lnTo>
                  <a:lnTo>
                    <a:pt x="57665" y="179173"/>
                  </a:lnTo>
                  <a:lnTo>
                    <a:pt x="90616" y="172995"/>
                  </a:lnTo>
                  <a:lnTo>
                    <a:pt x="98854" y="179173"/>
                  </a:lnTo>
                  <a:cubicBezTo>
                    <a:pt x="102973" y="181232"/>
                    <a:pt x="105032" y="183292"/>
                    <a:pt x="109151" y="185351"/>
                  </a:cubicBezTo>
                  <a:lnTo>
                    <a:pt x="117389" y="189470"/>
                  </a:lnTo>
                  <a:lnTo>
                    <a:pt x="125627" y="220362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741F098-9EC2-069D-DF54-22AD8F249F57}"/>
                </a:ext>
              </a:extLst>
            </p:cNvPr>
            <p:cNvSpPr/>
            <p:nvPr/>
          </p:nvSpPr>
          <p:spPr>
            <a:xfrm>
              <a:off x="8298379" y="3940025"/>
              <a:ext cx="50985" cy="49427"/>
            </a:xfrm>
            <a:custGeom>
              <a:avLst/>
              <a:gdLst>
                <a:gd name="connsiteX0" fmla="*/ 27552 w 50985"/>
                <a:gd name="connsiteY0" fmla="*/ 0 h 49427"/>
                <a:gd name="connsiteX1" fmla="*/ 13136 w 50985"/>
                <a:gd name="connsiteY1" fmla="*/ 2059 h 49427"/>
                <a:gd name="connsiteX2" fmla="*/ 2839 w 50985"/>
                <a:gd name="connsiteY2" fmla="*/ 37070 h 49427"/>
                <a:gd name="connsiteX3" fmla="*/ 25493 w 50985"/>
                <a:gd name="connsiteY3" fmla="*/ 49427 h 49427"/>
                <a:gd name="connsiteX4" fmla="*/ 37849 w 50985"/>
                <a:gd name="connsiteY4" fmla="*/ 45308 h 49427"/>
                <a:gd name="connsiteX5" fmla="*/ 48147 w 50985"/>
                <a:gd name="connsiteY5" fmla="*/ 10297 h 49427"/>
                <a:gd name="connsiteX6" fmla="*/ 27552 w 50985"/>
                <a:gd name="connsiteY6" fmla="*/ 0 h 49427"/>
                <a:gd name="connsiteX7" fmla="*/ 27552 w 50985"/>
                <a:gd name="connsiteY7" fmla="*/ 0 h 4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985" h="49427">
                  <a:moveTo>
                    <a:pt x="27552" y="0"/>
                  </a:moveTo>
                  <a:cubicBezTo>
                    <a:pt x="21374" y="0"/>
                    <a:pt x="17255" y="0"/>
                    <a:pt x="13136" y="2059"/>
                  </a:cubicBezTo>
                  <a:cubicBezTo>
                    <a:pt x="779" y="10297"/>
                    <a:pt x="-3340" y="24714"/>
                    <a:pt x="2839" y="37070"/>
                  </a:cubicBezTo>
                  <a:cubicBezTo>
                    <a:pt x="6957" y="45308"/>
                    <a:pt x="15195" y="49427"/>
                    <a:pt x="25493" y="49427"/>
                  </a:cubicBezTo>
                  <a:cubicBezTo>
                    <a:pt x="29612" y="49427"/>
                    <a:pt x="33730" y="47368"/>
                    <a:pt x="37849" y="45308"/>
                  </a:cubicBezTo>
                  <a:cubicBezTo>
                    <a:pt x="50206" y="37070"/>
                    <a:pt x="54325" y="22654"/>
                    <a:pt x="48147" y="10297"/>
                  </a:cubicBezTo>
                  <a:cubicBezTo>
                    <a:pt x="44028" y="4119"/>
                    <a:pt x="35790" y="0"/>
                    <a:pt x="27552" y="0"/>
                  </a:cubicBezTo>
                  <a:lnTo>
                    <a:pt x="27552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6787D73-1EC8-9459-E322-55DF3A72866A}"/>
                </a:ext>
              </a:extLst>
            </p:cNvPr>
            <p:cNvSpPr/>
            <p:nvPr/>
          </p:nvSpPr>
          <p:spPr>
            <a:xfrm>
              <a:off x="8177650" y="3818517"/>
              <a:ext cx="294502" cy="296562"/>
            </a:xfrm>
            <a:custGeom>
              <a:avLst/>
              <a:gdLst>
                <a:gd name="connsiteX0" fmla="*/ 185351 w 294502"/>
                <a:gd name="connsiteY0" fmla="*/ 296562 h 296562"/>
                <a:gd name="connsiteX1" fmla="*/ 146222 w 294502"/>
                <a:gd name="connsiteY1" fmla="*/ 261551 h 296562"/>
                <a:gd name="connsiteX2" fmla="*/ 107092 w 294502"/>
                <a:gd name="connsiteY2" fmla="*/ 296562 h 296562"/>
                <a:gd name="connsiteX3" fmla="*/ 39130 w 294502"/>
                <a:gd name="connsiteY3" fmla="*/ 255373 h 296562"/>
                <a:gd name="connsiteX4" fmla="*/ 49427 w 294502"/>
                <a:gd name="connsiteY4" fmla="*/ 205946 h 296562"/>
                <a:gd name="connsiteX5" fmla="*/ 0 w 294502"/>
                <a:gd name="connsiteY5" fmla="*/ 189470 h 296562"/>
                <a:gd name="connsiteX6" fmla="*/ 0 w 294502"/>
                <a:gd name="connsiteY6" fmla="*/ 107092 h 296562"/>
                <a:gd name="connsiteX7" fmla="*/ 49427 w 294502"/>
                <a:gd name="connsiteY7" fmla="*/ 90616 h 296562"/>
                <a:gd name="connsiteX8" fmla="*/ 39130 w 294502"/>
                <a:gd name="connsiteY8" fmla="*/ 41189 h 296562"/>
                <a:gd name="connsiteX9" fmla="*/ 107092 w 294502"/>
                <a:gd name="connsiteY9" fmla="*/ 0 h 296562"/>
                <a:gd name="connsiteX10" fmla="*/ 146222 w 294502"/>
                <a:gd name="connsiteY10" fmla="*/ 35011 h 296562"/>
                <a:gd name="connsiteX11" fmla="*/ 185351 w 294502"/>
                <a:gd name="connsiteY11" fmla="*/ 0 h 296562"/>
                <a:gd name="connsiteX12" fmla="*/ 255373 w 294502"/>
                <a:gd name="connsiteY12" fmla="*/ 41189 h 296562"/>
                <a:gd name="connsiteX13" fmla="*/ 245076 w 294502"/>
                <a:gd name="connsiteY13" fmla="*/ 90616 h 296562"/>
                <a:gd name="connsiteX14" fmla="*/ 294503 w 294502"/>
                <a:gd name="connsiteY14" fmla="*/ 105032 h 296562"/>
                <a:gd name="connsiteX15" fmla="*/ 294503 w 294502"/>
                <a:gd name="connsiteY15" fmla="*/ 187411 h 296562"/>
                <a:gd name="connsiteX16" fmla="*/ 245076 w 294502"/>
                <a:gd name="connsiteY16" fmla="*/ 203886 h 296562"/>
                <a:gd name="connsiteX17" fmla="*/ 245076 w 294502"/>
                <a:gd name="connsiteY17" fmla="*/ 203886 h 296562"/>
                <a:gd name="connsiteX18" fmla="*/ 255373 w 294502"/>
                <a:gd name="connsiteY18" fmla="*/ 255373 h 296562"/>
                <a:gd name="connsiteX19" fmla="*/ 185351 w 294502"/>
                <a:gd name="connsiteY19" fmla="*/ 296562 h 296562"/>
                <a:gd name="connsiteX20" fmla="*/ 162697 w 294502"/>
                <a:gd name="connsiteY20" fmla="*/ 212124 h 296562"/>
                <a:gd name="connsiteX21" fmla="*/ 191530 w 294502"/>
                <a:gd name="connsiteY21" fmla="*/ 236838 h 296562"/>
                <a:gd name="connsiteX22" fmla="*/ 201827 w 294502"/>
                <a:gd name="connsiteY22" fmla="*/ 230659 h 296562"/>
                <a:gd name="connsiteX23" fmla="*/ 193589 w 294502"/>
                <a:gd name="connsiteY23" fmla="*/ 193589 h 296562"/>
                <a:gd name="connsiteX24" fmla="*/ 199768 w 294502"/>
                <a:gd name="connsiteY24" fmla="*/ 185351 h 296562"/>
                <a:gd name="connsiteX25" fmla="*/ 205946 w 294502"/>
                <a:gd name="connsiteY25" fmla="*/ 175054 h 296562"/>
                <a:gd name="connsiteX26" fmla="*/ 210065 w 294502"/>
                <a:gd name="connsiteY26" fmla="*/ 164757 h 296562"/>
                <a:gd name="connsiteX27" fmla="*/ 247135 w 294502"/>
                <a:gd name="connsiteY27" fmla="*/ 152400 h 296562"/>
                <a:gd name="connsiteX28" fmla="*/ 247135 w 294502"/>
                <a:gd name="connsiteY28" fmla="*/ 140043 h 296562"/>
                <a:gd name="connsiteX29" fmla="*/ 216243 w 294502"/>
                <a:gd name="connsiteY29" fmla="*/ 129746 h 296562"/>
                <a:gd name="connsiteX30" fmla="*/ 212124 w 294502"/>
                <a:gd name="connsiteY30" fmla="*/ 125627 h 296562"/>
                <a:gd name="connsiteX31" fmla="*/ 203887 w 294502"/>
                <a:gd name="connsiteY31" fmla="*/ 115330 h 296562"/>
                <a:gd name="connsiteX32" fmla="*/ 224481 w 294502"/>
                <a:gd name="connsiteY32" fmla="*/ 102973 h 296562"/>
                <a:gd name="connsiteX33" fmla="*/ 203887 w 294502"/>
                <a:gd name="connsiteY33" fmla="*/ 115330 h 296562"/>
                <a:gd name="connsiteX34" fmla="*/ 193589 w 294502"/>
                <a:gd name="connsiteY34" fmla="*/ 100914 h 296562"/>
                <a:gd name="connsiteX35" fmla="*/ 201827 w 294502"/>
                <a:gd name="connsiteY35" fmla="*/ 63843 h 296562"/>
                <a:gd name="connsiteX36" fmla="*/ 191530 w 294502"/>
                <a:gd name="connsiteY36" fmla="*/ 57665 h 296562"/>
                <a:gd name="connsiteX37" fmla="*/ 162697 w 294502"/>
                <a:gd name="connsiteY37" fmla="*/ 82378 h 296562"/>
                <a:gd name="connsiteX38" fmla="*/ 152400 w 294502"/>
                <a:gd name="connsiteY38" fmla="*/ 82378 h 296562"/>
                <a:gd name="connsiteX39" fmla="*/ 142103 w 294502"/>
                <a:gd name="connsiteY39" fmla="*/ 82378 h 296562"/>
                <a:gd name="connsiteX40" fmla="*/ 131805 w 294502"/>
                <a:gd name="connsiteY40" fmla="*/ 82378 h 296562"/>
                <a:gd name="connsiteX41" fmla="*/ 102973 w 294502"/>
                <a:gd name="connsiteY41" fmla="*/ 57665 h 296562"/>
                <a:gd name="connsiteX42" fmla="*/ 92676 w 294502"/>
                <a:gd name="connsiteY42" fmla="*/ 63843 h 296562"/>
                <a:gd name="connsiteX43" fmla="*/ 100914 w 294502"/>
                <a:gd name="connsiteY43" fmla="*/ 100914 h 296562"/>
                <a:gd name="connsiteX44" fmla="*/ 94735 w 294502"/>
                <a:gd name="connsiteY44" fmla="*/ 109151 h 296562"/>
                <a:gd name="connsiteX45" fmla="*/ 88557 w 294502"/>
                <a:gd name="connsiteY45" fmla="*/ 119449 h 296562"/>
                <a:gd name="connsiteX46" fmla="*/ 84438 w 294502"/>
                <a:gd name="connsiteY46" fmla="*/ 129746 h 296562"/>
                <a:gd name="connsiteX47" fmla="*/ 49427 w 294502"/>
                <a:gd name="connsiteY47" fmla="*/ 142103 h 296562"/>
                <a:gd name="connsiteX48" fmla="*/ 49427 w 294502"/>
                <a:gd name="connsiteY48" fmla="*/ 154459 h 296562"/>
                <a:gd name="connsiteX49" fmla="*/ 84438 w 294502"/>
                <a:gd name="connsiteY49" fmla="*/ 166816 h 296562"/>
                <a:gd name="connsiteX50" fmla="*/ 94735 w 294502"/>
                <a:gd name="connsiteY50" fmla="*/ 187411 h 296562"/>
                <a:gd name="connsiteX51" fmla="*/ 100914 w 294502"/>
                <a:gd name="connsiteY51" fmla="*/ 195649 h 296562"/>
                <a:gd name="connsiteX52" fmla="*/ 92676 w 294502"/>
                <a:gd name="connsiteY52" fmla="*/ 232719 h 296562"/>
                <a:gd name="connsiteX53" fmla="*/ 102973 w 294502"/>
                <a:gd name="connsiteY53" fmla="*/ 238897 h 296562"/>
                <a:gd name="connsiteX54" fmla="*/ 131805 w 294502"/>
                <a:gd name="connsiteY54" fmla="*/ 214184 h 296562"/>
                <a:gd name="connsiteX55" fmla="*/ 142103 w 294502"/>
                <a:gd name="connsiteY55" fmla="*/ 214184 h 296562"/>
                <a:gd name="connsiteX56" fmla="*/ 152400 w 294502"/>
                <a:gd name="connsiteY56" fmla="*/ 214184 h 296562"/>
                <a:gd name="connsiteX57" fmla="*/ 162697 w 294502"/>
                <a:gd name="connsiteY57" fmla="*/ 212124 h 29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4502" h="296562">
                  <a:moveTo>
                    <a:pt x="185351" y="296562"/>
                  </a:moveTo>
                  <a:lnTo>
                    <a:pt x="146222" y="261551"/>
                  </a:lnTo>
                  <a:lnTo>
                    <a:pt x="107092" y="296562"/>
                  </a:lnTo>
                  <a:lnTo>
                    <a:pt x="39130" y="255373"/>
                  </a:lnTo>
                  <a:lnTo>
                    <a:pt x="49427" y="205946"/>
                  </a:lnTo>
                  <a:lnTo>
                    <a:pt x="0" y="189470"/>
                  </a:lnTo>
                  <a:lnTo>
                    <a:pt x="0" y="107092"/>
                  </a:lnTo>
                  <a:lnTo>
                    <a:pt x="49427" y="90616"/>
                  </a:lnTo>
                  <a:lnTo>
                    <a:pt x="39130" y="41189"/>
                  </a:lnTo>
                  <a:lnTo>
                    <a:pt x="107092" y="0"/>
                  </a:lnTo>
                  <a:lnTo>
                    <a:pt x="146222" y="35011"/>
                  </a:lnTo>
                  <a:lnTo>
                    <a:pt x="185351" y="0"/>
                  </a:lnTo>
                  <a:lnTo>
                    <a:pt x="255373" y="41189"/>
                  </a:lnTo>
                  <a:lnTo>
                    <a:pt x="245076" y="90616"/>
                  </a:lnTo>
                  <a:lnTo>
                    <a:pt x="294503" y="105032"/>
                  </a:lnTo>
                  <a:lnTo>
                    <a:pt x="294503" y="187411"/>
                  </a:lnTo>
                  <a:lnTo>
                    <a:pt x="245076" y="203886"/>
                  </a:lnTo>
                  <a:cubicBezTo>
                    <a:pt x="245076" y="203886"/>
                    <a:pt x="245076" y="203886"/>
                    <a:pt x="245076" y="203886"/>
                  </a:cubicBezTo>
                  <a:lnTo>
                    <a:pt x="255373" y="255373"/>
                  </a:lnTo>
                  <a:lnTo>
                    <a:pt x="185351" y="296562"/>
                  </a:lnTo>
                  <a:close/>
                  <a:moveTo>
                    <a:pt x="162697" y="212124"/>
                  </a:moveTo>
                  <a:lnTo>
                    <a:pt x="191530" y="236838"/>
                  </a:lnTo>
                  <a:lnTo>
                    <a:pt x="201827" y="230659"/>
                  </a:lnTo>
                  <a:lnTo>
                    <a:pt x="193589" y="193589"/>
                  </a:lnTo>
                  <a:lnTo>
                    <a:pt x="199768" y="185351"/>
                  </a:lnTo>
                  <a:cubicBezTo>
                    <a:pt x="201827" y="181232"/>
                    <a:pt x="203887" y="179173"/>
                    <a:pt x="205946" y="175054"/>
                  </a:cubicBezTo>
                  <a:lnTo>
                    <a:pt x="210065" y="164757"/>
                  </a:lnTo>
                  <a:lnTo>
                    <a:pt x="247135" y="152400"/>
                  </a:lnTo>
                  <a:lnTo>
                    <a:pt x="247135" y="140043"/>
                  </a:lnTo>
                  <a:lnTo>
                    <a:pt x="216243" y="129746"/>
                  </a:lnTo>
                  <a:lnTo>
                    <a:pt x="212124" y="125627"/>
                  </a:lnTo>
                  <a:cubicBezTo>
                    <a:pt x="208005" y="121508"/>
                    <a:pt x="205946" y="117389"/>
                    <a:pt x="203887" y="115330"/>
                  </a:cubicBezTo>
                  <a:lnTo>
                    <a:pt x="224481" y="102973"/>
                  </a:lnTo>
                  <a:lnTo>
                    <a:pt x="203887" y="115330"/>
                  </a:lnTo>
                  <a:lnTo>
                    <a:pt x="193589" y="100914"/>
                  </a:lnTo>
                  <a:lnTo>
                    <a:pt x="201827" y="63843"/>
                  </a:lnTo>
                  <a:lnTo>
                    <a:pt x="191530" y="57665"/>
                  </a:lnTo>
                  <a:lnTo>
                    <a:pt x="162697" y="82378"/>
                  </a:lnTo>
                  <a:lnTo>
                    <a:pt x="152400" y="82378"/>
                  </a:lnTo>
                  <a:cubicBezTo>
                    <a:pt x="148281" y="82378"/>
                    <a:pt x="144162" y="82378"/>
                    <a:pt x="142103" y="82378"/>
                  </a:cubicBezTo>
                  <a:lnTo>
                    <a:pt x="131805" y="82378"/>
                  </a:lnTo>
                  <a:lnTo>
                    <a:pt x="102973" y="57665"/>
                  </a:lnTo>
                  <a:lnTo>
                    <a:pt x="92676" y="63843"/>
                  </a:lnTo>
                  <a:lnTo>
                    <a:pt x="100914" y="100914"/>
                  </a:lnTo>
                  <a:lnTo>
                    <a:pt x="94735" y="109151"/>
                  </a:lnTo>
                  <a:cubicBezTo>
                    <a:pt x="92676" y="111211"/>
                    <a:pt x="90616" y="115330"/>
                    <a:pt x="88557" y="119449"/>
                  </a:cubicBezTo>
                  <a:lnTo>
                    <a:pt x="84438" y="129746"/>
                  </a:lnTo>
                  <a:lnTo>
                    <a:pt x="49427" y="142103"/>
                  </a:lnTo>
                  <a:lnTo>
                    <a:pt x="49427" y="154459"/>
                  </a:lnTo>
                  <a:lnTo>
                    <a:pt x="84438" y="166816"/>
                  </a:lnTo>
                  <a:lnTo>
                    <a:pt x="94735" y="187411"/>
                  </a:lnTo>
                  <a:lnTo>
                    <a:pt x="100914" y="195649"/>
                  </a:lnTo>
                  <a:lnTo>
                    <a:pt x="92676" y="232719"/>
                  </a:lnTo>
                  <a:lnTo>
                    <a:pt x="102973" y="238897"/>
                  </a:lnTo>
                  <a:lnTo>
                    <a:pt x="131805" y="214184"/>
                  </a:lnTo>
                  <a:lnTo>
                    <a:pt x="142103" y="214184"/>
                  </a:lnTo>
                  <a:cubicBezTo>
                    <a:pt x="146222" y="214184"/>
                    <a:pt x="150341" y="214184"/>
                    <a:pt x="152400" y="214184"/>
                  </a:cubicBezTo>
                  <a:lnTo>
                    <a:pt x="162697" y="212124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96A15AB-3DFE-2CF7-6605-AD55BFC2C3B2}"/>
              </a:ext>
            </a:extLst>
          </p:cNvPr>
          <p:cNvGrpSpPr/>
          <p:nvPr/>
        </p:nvGrpSpPr>
        <p:grpSpPr>
          <a:xfrm>
            <a:off x="4609173" y="3216951"/>
            <a:ext cx="617167" cy="600258"/>
            <a:chOff x="8006715" y="3818517"/>
            <a:chExt cx="751702" cy="731107"/>
          </a:xfrm>
          <a:solidFill>
            <a:schemeClr val="tx1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835AA0B-86D5-9178-063F-A757E9DBB7A6}"/>
                </a:ext>
              </a:extLst>
            </p:cNvPr>
            <p:cNvSpPr/>
            <p:nvPr/>
          </p:nvSpPr>
          <p:spPr>
            <a:xfrm>
              <a:off x="8280623" y="4057414"/>
              <a:ext cx="477794" cy="492210"/>
            </a:xfrm>
            <a:custGeom>
              <a:avLst/>
              <a:gdLst>
                <a:gd name="connsiteX0" fmla="*/ 296562 w 477794"/>
                <a:gd name="connsiteY0" fmla="*/ 492211 h 492210"/>
                <a:gd name="connsiteX1" fmla="*/ 179173 w 477794"/>
                <a:gd name="connsiteY1" fmla="*/ 492211 h 492210"/>
                <a:gd name="connsiteX2" fmla="*/ 152400 w 477794"/>
                <a:gd name="connsiteY2" fmla="*/ 407773 h 492210"/>
                <a:gd name="connsiteX3" fmla="*/ 144162 w 477794"/>
                <a:gd name="connsiteY3" fmla="*/ 401595 h 492210"/>
                <a:gd name="connsiteX4" fmla="*/ 57665 w 477794"/>
                <a:gd name="connsiteY4" fmla="*/ 418070 h 492210"/>
                <a:gd name="connsiteX5" fmla="*/ 0 w 477794"/>
                <a:gd name="connsiteY5" fmla="*/ 317157 h 492210"/>
                <a:gd name="connsiteX6" fmla="*/ 59724 w 477794"/>
                <a:gd name="connsiteY6" fmla="*/ 251254 h 492210"/>
                <a:gd name="connsiteX7" fmla="*/ 59724 w 477794"/>
                <a:gd name="connsiteY7" fmla="*/ 245076 h 492210"/>
                <a:gd name="connsiteX8" fmla="*/ 59724 w 477794"/>
                <a:gd name="connsiteY8" fmla="*/ 238897 h 492210"/>
                <a:gd name="connsiteX9" fmla="*/ 2059 w 477794"/>
                <a:gd name="connsiteY9" fmla="*/ 172995 h 492210"/>
                <a:gd name="connsiteX10" fmla="*/ 59724 w 477794"/>
                <a:gd name="connsiteY10" fmla="*/ 72081 h 492210"/>
                <a:gd name="connsiteX11" fmla="*/ 146222 w 477794"/>
                <a:gd name="connsiteY11" fmla="*/ 88557 h 492210"/>
                <a:gd name="connsiteX12" fmla="*/ 154459 w 477794"/>
                <a:gd name="connsiteY12" fmla="*/ 82378 h 492210"/>
                <a:gd name="connsiteX13" fmla="*/ 181232 w 477794"/>
                <a:gd name="connsiteY13" fmla="*/ 0 h 492210"/>
                <a:gd name="connsiteX14" fmla="*/ 298622 w 477794"/>
                <a:gd name="connsiteY14" fmla="*/ 0 h 492210"/>
                <a:gd name="connsiteX15" fmla="*/ 325395 w 477794"/>
                <a:gd name="connsiteY15" fmla="*/ 82378 h 492210"/>
                <a:gd name="connsiteX16" fmla="*/ 333632 w 477794"/>
                <a:gd name="connsiteY16" fmla="*/ 88557 h 492210"/>
                <a:gd name="connsiteX17" fmla="*/ 418070 w 477794"/>
                <a:gd name="connsiteY17" fmla="*/ 72081 h 492210"/>
                <a:gd name="connsiteX18" fmla="*/ 477795 w 477794"/>
                <a:gd name="connsiteY18" fmla="*/ 172995 h 492210"/>
                <a:gd name="connsiteX19" fmla="*/ 420130 w 477794"/>
                <a:gd name="connsiteY19" fmla="*/ 238897 h 492210"/>
                <a:gd name="connsiteX20" fmla="*/ 420130 w 477794"/>
                <a:gd name="connsiteY20" fmla="*/ 245076 h 492210"/>
                <a:gd name="connsiteX21" fmla="*/ 420130 w 477794"/>
                <a:gd name="connsiteY21" fmla="*/ 251254 h 492210"/>
                <a:gd name="connsiteX22" fmla="*/ 477795 w 477794"/>
                <a:gd name="connsiteY22" fmla="*/ 315097 h 492210"/>
                <a:gd name="connsiteX23" fmla="*/ 420130 w 477794"/>
                <a:gd name="connsiteY23" fmla="*/ 416011 h 492210"/>
                <a:gd name="connsiteX24" fmla="*/ 333632 w 477794"/>
                <a:gd name="connsiteY24" fmla="*/ 399535 h 492210"/>
                <a:gd name="connsiteX25" fmla="*/ 325395 w 477794"/>
                <a:gd name="connsiteY25" fmla="*/ 405714 h 492210"/>
                <a:gd name="connsiteX26" fmla="*/ 296562 w 477794"/>
                <a:gd name="connsiteY26" fmla="*/ 492211 h 492210"/>
                <a:gd name="connsiteX27" fmla="*/ 214184 w 477794"/>
                <a:gd name="connsiteY27" fmla="*/ 444843 h 492210"/>
                <a:gd name="connsiteX28" fmla="*/ 261551 w 477794"/>
                <a:gd name="connsiteY28" fmla="*/ 444843 h 492210"/>
                <a:gd name="connsiteX29" fmla="*/ 284205 w 477794"/>
                <a:gd name="connsiteY29" fmla="*/ 374822 h 492210"/>
                <a:gd name="connsiteX30" fmla="*/ 292443 w 477794"/>
                <a:gd name="connsiteY30" fmla="*/ 370703 h 492210"/>
                <a:gd name="connsiteX31" fmla="*/ 313038 w 477794"/>
                <a:gd name="connsiteY31" fmla="*/ 358346 h 492210"/>
                <a:gd name="connsiteX32" fmla="*/ 321276 w 477794"/>
                <a:gd name="connsiteY32" fmla="*/ 352168 h 492210"/>
                <a:gd name="connsiteX33" fmla="*/ 393357 w 477794"/>
                <a:gd name="connsiteY33" fmla="*/ 366584 h 492210"/>
                <a:gd name="connsiteX34" fmla="*/ 418070 w 477794"/>
                <a:gd name="connsiteY34" fmla="*/ 325395 h 492210"/>
                <a:gd name="connsiteX35" fmla="*/ 368643 w 477794"/>
                <a:gd name="connsiteY35" fmla="*/ 269789 h 492210"/>
                <a:gd name="connsiteX36" fmla="*/ 370703 w 477794"/>
                <a:gd name="connsiteY36" fmla="*/ 257432 h 492210"/>
                <a:gd name="connsiteX37" fmla="*/ 370703 w 477794"/>
                <a:gd name="connsiteY37" fmla="*/ 247135 h 492210"/>
                <a:gd name="connsiteX38" fmla="*/ 370703 w 477794"/>
                <a:gd name="connsiteY38" fmla="*/ 245076 h 492210"/>
                <a:gd name="connsiteX39" fmla="*/ 370703 w 477794"/>
                <a:gd name="connsiteY39" fmla="*/ 232719 h 492210"/>
                <a:gd name="connsiteX40" fmla="*/ 370703 w 477794"/>
                <a:gd name="connsiteY40" fmla="*/ 222422 h 492210"/>
                <a:gd name="connsiteX41" fmla="*/ 418070 w 477794"/>
                <a:gd name="connsiteY41" fmla="*/ 168876 h 492210"/>
                <a:gd name="connsiteX42" fmla="*/ 393357 w 477794"/>
                <a:gd name="connsiteY42" fmla="*/ 127686 h 492210"/>
                <a:gd name="connsiteX43" fmla="*/ 323335 w 477794"/>
                <a:gd name="connsiteY43" fmla="*/ 144162 h 492210"/>
                <a:gd name="connsiteX44" fmla="*/ 315097 w 477794"/>
                <a:gd name="connsiteY44" fmla="*/ 137984 h 492210"/>
                <a:gd name="connsiteX45" fmla="*/ 294503 w 477794"/>
                <a:gd name="connsiteY45" fmla="*/ 125627 h 492210"/>
                <a:gd name="connsiteX46" fmla="*/ 286265 w 477794"/>
                <a:gd name="connsiteY46" fmla="*/ 121508 h 492210"/>
                <a:gd name="connsiteX47" fmla="*/ 263611 w 477794"/>
                <a:gd name="connsiteY47" fmla="*/ 51486 h 492210"/>
                <a:gd name="connsiteX48" fmla="*/ 214184 w 477794"/>
                <a:gd name="connsiteY48" fmla="*/ 51486 h 492210"/>
                <a:gd name="connsiteX49" fmla="*/ 191530 w 477794"/>
                <a:gd name="connsiteY49" fmla="*/ 121508 h 492210"/>
                <a:gd name="connsiteX50" fmla="*/ 183292 w 477794"/>
                <a:gd name="connsiteY50" fmla="*/ 125627 h 492210"/>
                <a:gd name="connsiteX51" fmla="*/ 162697 w 477794"/>
                <a:gd name="connsiteY51" fmla="*/ 137984 h 492210"/>
                <a:gd name="connsiteX52" fmla="*/ 154459 w 477794"/>
                <a:gd name="connsiteY52" fmla="*/ 144162 h 492210"/>
                <a:gd name="connsiteX53" fmla="*/ 82378 w 477794"/>
                <a:gd name="connsiteY53" fmla="*/ 129746 h 492210"/>
                <a:gd name="connsiteX54" fmla="*/ 57665 w 477794"/>
                <a:gd name="connsiteY54" fmla="*/ 170935 h 492210"/>
                <a:gd name="connsiteX55" fmla="*/ 107092 w 477794"/>
                <a:gd name="connsiteY55" fmla="*/ 224481 h 492210"/>
                <a:gd name="connsiteX56" fmla="*/ 107092 w 477794"/>
                <a:gd name="connsiteY56" fmla="*/ 234778 h 492210"/>
                <a:gd name="connsiteX57" fmla="*/ 107092 w 477794"/>
                <a:gd name="connsiteY57" fmla="*/ 247135 h 492210"/>
                <a:gd name="connsiteX58" fmla="*/ 107092 w 477794"/>
                <a:gd name="connsiteY58" fmla="*/ 271849 h 492210"/>
                <a:gd name="connsiteX59" fmla="*/ 59724 w 477794"/>
                <a:gd name="connsiteY59" fmla="*/ 325395 h 492210"/>
                <a:gd name="connsiteX60" fmla="*/ 84438 w 477794"/>
                <a:gd name="connsiteY60" fmla="*/ 366584 h 492210"/>
                <a:gd name="connsiteX61" fmla="*/ 156519 w 477794"/>
                <a:gd name="connsiteY61" fmla="*/ 352168 h 492210"/>
                <a:gd name="connsiteX62" fmla="*/ 164757 w 477794"/>
                <a:gd name="connsiteY62" fmla="*/ 358346 h 492210"/>
                <a:gd name="connsiteX63" fmla="*/ 185351 w 477794"/>
                <a:gd name="connsiteY63" fmla="*/ 370703 h 492210"/>
                <a:gd name="connsiteX64" fmla="*/ 193589 w 477794"/>
                <a:gd name="connsiteY64" fmla="*/ 374822 h 492210"/>
                <a:gd name="connsiteX65" fmla="*/ 214184 w 477794"/>
                <a:gd name="connsiteY65" fmla="*/ 444843 h 49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477794" h="492210">
                  <a:moveTo>
                    <a:pt x="296562" y="492211"/>
                  </a:moveTo>
                  <a:lnTo>
                    <a:pt x="179173" y="492211"/>
                  </a:lnTo>
                  <a:lnTo>
                    <a:pt x="152400" y="407773"/>
                  </a:lnTo>
                  <a:cubicBezTo>
                    <a:pt x="150341" y="405714"/>
                    <a:pt x="146222" y="403654"/>
                    <a:pt x="144162" y="401595"/>
                  </a:cubicBezTo>
                  <a:lnTo>
                    <a:pt x="57665" y="418070"/>
                  </a:lnTo>
                  <a:lnTo>
                    <a:pt x="0" y="317157"/>
                  </a:lnTo>
                  <a:lnTo>
                    <a:pt x="59724" y="251254"/>
                  </a:lnTo>
                  <a:lnTo>
                    <a:pt x="59724" y="245076"/>
                  </a:lnTo>
                  <a:cubicBezTo>
                    <a:pt x="59724" y="243016"/>
                    <a:pt x="59724" y="240957"/>
                    <a:pt x="59724" y="238897"/>
                  </a:cubicBezTo>
                  <a:lnTo>
                    <a:pt x="2059" y="172995"/>
                  </a:lnTo>
                  <a:lnTo>
                    <a:pt x="59724" y="72081"/>
                  </a:lnTo>
                  <a:lnTo>
                    <a:pt x="146222" y="88557"/>
                  </a:lnTo>
                  <a:cubicBezTo>
                    <a:pt x="148281" y="86497"/>
                    <a:pt x="152400" y="84438"/>
                    <a:pt x="154459" y="82378"/>
                  </a:cubicBezTo>
                  <a:lnTo>
                    <a:pt x="181232" y="0"/>
                  </a:lnTo>
                  <a:lnTo>
                    <a:pt x="298622" y="0"/>
                  </a:lnTo>
                  <a:lnTo>
                    <a:pt x="325395" y="82378"/>
                  </a:lnTo>
                  <a:cubicBezTo>
                    <a:pt x="329514" y="84438"/>
                    <a:pt x="331573" y="86497"/>
                    <a:pt x="333632" y="88557"/>
                  </a:cubicBezTo>
                  <a:lnTo>
                    <a:pt x="418070" y="72081"/>
                  </a:lnTo>
                  <a:lnTo>
                    <a:pt x="477795" y="172995"/>
                  </a:lnTo>
                  <a:lnTo>
                    <a:pt x="420130" y="238897"/>
                  </a:lnTo>
                  <a:cubicBezTo>
                    <a:pt x="420130" y="240957"/>
                    <a:pt x="420130" y="243016"/>
                    <a:pt x="420130" y="245076"/>
                  </a:cubicBezTo>
                  <a:cubicBezTo>
                    <a:pt x="420130" y="247135"/>
                    <a:pt x="420130" y="249195"/>
                    <a:pt x="420130" y="251254"/>
                  </a:cubicBezTo>
                  <a:lnTo>
                    <a:pt x="477795" y="315097"/>
                  </a:lnTo>
                  <a:lnTo>
                    <a:pt x="420130" y="416011"/>
                  </a:lnTo>
                  <a:lnTo>
                    <a:pt x="333632" y="399535"/>
                  </a:lnTo>
                  <a:cubicBezTo>
                    <a:pt x="331573" y="401595"/>
                    <a:pt x="327454" y="403654"/>
                    <a:pt x="325395" y="405714"/>
                  </a:cubicBezTo>
                  <a:lnTo>
                    <a:pt x="296562" y="492211"/>
                  </a:lnTo>
                  <a:close/>
                  <a:moveTo>
                    <a:pt x="214184" y="444843"/>
                  </a:moveTo>
                  <a:lnTo>
                    <a:pt x="261551" y="444843"/>
                  </a:lnTo>
                  <a:lnTo>
                    <a:pt x="284205" y="374822"/>
                  </a:lnTo>
                  <a:lnTo>
                    <a:pt x="292443" y="370703"/>
                  </a:lnTo>
                  <a:cubicBezTo>
                    <a:pt x="298622" y="366584"/>
                    <a:pt x="306859" y="362465"/>
                    <a:pt x="313038" y="358346"/>
                  </a:cubicBezTo>
                  <a:lnTo>
                    <a:pt x="321276" y="352168"/>
                  </a:lnTo>
                  <a:lnTo>
                    <a:pt x="393357" y="366584"/>
                  </a:lnTo>
                  <a:lnTo>
                    <a:pt x="418070" y="325395"/>
                  </a:lnTo>
                  <a:lnTo>
                    <a:pt x="368643" y="269789"/>
                  </a:lnTo>
                  <a:lnTo>
                    <a:pt x="370703" y="257432"/>
                  </a:lnTo>
                  <a:cubicBezTo>
                    <a:pt x="370703" y="253314"/>
                    <a:pt x="370703" y="251254"/>
                    <a:pt x="370703" y="247135"/>
                  </a:cubicBezTo>
                  <a:lnTo>
                    <a:pt x="370703" y="245076"/>
                  </a:lnTo>
                  <a:cubicBezTo>
                    <a:pt x="370703" y="240957"/>
                    <a:pt x="370703" y="236838"/>
                    <a:pt x="370703" y="232719"/>
                  </a:cubicBezTo>
                  <a:lnTo>
                    <a:pt x="370703" y="222422"/>
                  </a:lnTo>
                  <a:lnTo>
                    <a:pt x="418070" y="168876"/>
                  </a:lnTo>
                  <a:lnTo>
                    <a:pt x="393357" y="127686"/>
                  </a:lnTo>
                  <a:lnTo>
                    <a:pt x="323335" y="144162"/>
                  </a:lnTo>
                  <a:lnTo>
                    <a:pt x="315097" y="137984"/>
                  </a:lnTo>
                  <a:cubicBezTo>
                    <a:pt x="308919" y="133865"/>
                    <a:pt x="302741" y="129746"/>
                    <a:pt x="294503" y="125627"/>
                  </a:cubicBezTo>
                  <a:lnTo>
                    <a:pt x="286265" y="121508"/>
                  </a:lnTo>
                  <a:lnTo>
                    <a:pt x="263611" y="51486"/>
                  </a:lnTo>
                  <a:lnTo>
                    <a:pt x="214184" y="51486"/>
                  </a:lnTo>
                  <a:lnTo>
                    <a:pt x="191530" y="121508"/>
                  </a:lnTo>
                  <a:lnTo>
                    <a:pt x="183292" y="125627"/>
                  </a:lnTo>
                  <a:cubicBezTo>
                    <a:pt x="177114" y="129746"/>
                    <a:pt x="168876" y="133865"/>
                    <a:pt x="162697" y="137984"/>
                  </a:cubicBezTo>
                  <a:lnTo>
                    <a:pt x="154459" y="144162"/>
                  </a:lnTo>
                  <a:lnTo>
                    <a:pt x="82378" y="129746"/>
                  </a:lnTo>
                  <a:lnTo>
                    <a:pt x="57665" y="170935"/>
                  </a:lnTo>
                  <a:lnTo>
                    <a:pt x="107092" y="224481"/>
                  </a:lnTo>
                  <a:lnTo>
                    <a:pt x="107092" y="234778"/>
                  </a:lnTo>
                  <a:cubicBezTo>
                    <a:pt x="107092" y="238897"/>
                    <a:pt x="107092" y="243016"/>
                    <a:pt x="107092" y="247135"/>
                  </a:cubicBezTo>
                  <a:lnTo>
                    <a:pt x="107092" y="271849"/>
                  </a:lnTo>
                  <a:lnTo>
                    <a:pt x="59724" y="325395"/>
                  </a:lnTo>
                  <a:lnTo>
                    <a:pt x="84438" y="366584"/>
                  </a:lnTo>
                  <a:lnTo>
                    <a:pt x="156519" y="352168"/>
                  </a:lnTo>
                  <a:lnTo>
                    <a:pt x="164757" y="358346"/>
                  </a:lnTo>
                  <a:cubicBezTo>
                    <a:pt x="170935" y="362465"/>
                    <a:pt x="177114" y="366584"/>
                    <a:pt x="185351" y="370703"/>
                  </a:cubicBezTo>
                  <a:lnTo>
                    <a:pt x="193589" y="374822"/>
                  </a:lnTo>
                  <a:lnTo>
                    <a:pt x="214184" y="444843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926EBD5-B51A-6EFB-2828-3BB176F2A310}"/>
                </a:ext>
              </a:extLst>
            </p:cNvPr>
            <p:cNvSpPr/>
            <p:nvPr/>
          </p:nvSpPr>
          <p:spPr>
            <a:xfrm>
              <a:off x="8449498" y="4236587"/>
              <a:ext cx="140043" cy="140043"/>
            </a:xfrm>
            <a:custGeom>
              <a:avLst/>
              <a:gdLst>
                <a:gd name="connsiteX0" fmla="*/ 70022 w 140043"/>
                <a:gd name="connsiteY0" fmla="*/ 140043 h 140043"/>
                <a:gd name="connsiteX1" fmla="*/ 0 w 140043"/>
                <a:gd name="connsiteY1" fmla="*/ 70022 h 140043"/>
                <a:gd name="connsiteX2" fmla="*/ 70022 w 140043"/>
                <a:gd name="connsiteY2" fmla="*/ 0 h 140043"/>
                <a:gd name="connsiteX3" fmla="*/ 140043 w 140043"/>
                <a:gd name="connsiteY3" fmla="*/ 70022 h 140043"/>
                <a:gd name="connsiteX4" fmla="*/ 70022 w 140043"/>
                <a:gd name="connsiteY4" fmla="*/ 140043 h 140043"/>
                <a:gd name="connsiteX5" fmla="*/ 70022 w 140043"/>
                <a:gd name="connsiteY5" fmla="*/ 45308 h 140043"/>
                <a:gd name="connsiteX6" fmla="*/ 47368 w 140043"/>
                <a:gd name="connsiteY6" fmla="*/ 67962 h 140043"/>
                <a:gd name="connsiteX7" fmla="*/ 70022 w 140043"/>
                <a:gd name="connsiteY7" fmla="*/ 90616 h 140043"/>
                <a:gd name="connsiteX8" fmla="*/ 92676 w 140043"/>
                <a:gd name="connsiteY8" fmla="*/ 67962 h 140043"/>
                <a:gd name="connsiteX9" fmla="*/ 70022 w 140043"/>
                <a:gd name="connsiteY9" fmla="*/ 45308 h 140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43" h="140043">
                  <a:moveTo>
                    <a:pt x="70022" y="140043"/>
                  </a:moveTo>
                  <a:cubicBezTo>
                    <a:pt x="30892" y="140043"/>
                    <a:pt x="0" y="109151"/>
                    <a:pt x="0" y="70022"/>
                  </a:cubicBezTo>
                  <a:cubicBezTo>
                    <a:pt x="0" y="30892"/>
                    <a:pt x="30892" y="0"/>
                    <a:pt x="70022" y="0"/>
                  </a:cubicBezTo>
                  <a:cubicBezTo>
                    <a:pt x="109151" y="0"/>
                    <a:pt x="140043" y="30892"/>
                    <a:pt x="140043" y="70022"/>
                  </a:cubicBezTo>
                  <a:cubicBezTo>
                    <a:pt x="140043" y="109151"/>
                    <a:pt x="107092" y="140043"/>
                    <a:pt x="70022" y="140043"/>
                  </a:cubicBezTo>
                  <a:close/>
                  <a:moveTo>
                    <a:pt x="70022" y="45308"/>
                  </a:moveTo>
                  <a:cubicBezTo>
                    <a:pt x="57665" y="45308"/>
                    <a:pt x="47368" y="55605"/>
                    <a:pt x="47368" y="67962"/>
                  </a:cubicBezTo>
                  <a:cubicBezTo>
                    <a:pt x="47368" y="80319"/>
                    <a:pt x="57665" y="90616"/>
                    <a:pt x="70022" y="90616"/>
                  </a:cubicBezTo>
                  <a:cubicBezTo>
                    <a:pt x="82378" y="90616"/>
                    <a:pt x="92676" y="80319"/>
                    <a:pt x="92676" y="67962"/>
                  </a:cubicBezTo>
                  <a:cubicBezTo>
                    <a:pt x="92676" y="55605"/>
                    <a:pt x="82378" y="45308"/>
                    <a:pt x="70022" y="45308"/>
                  </a:cubicBez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EBD1BB2-04F2-1C71-202C-FEDBC3010855}"/>
                </a:ext>
              </a:extLst>
            </p:cNvPr>
            <p:cNvSpPr/>
            <p:nvPr/>
          </p:nvSpPr>
          <p:spPr>
            <a:xfrm>
              <a:off x="8115866" y="4197457"/>
              <a:ext cx="45308" cy="45308"/>
            </a:xfrm>
            <a:custGeom>
              <a:avLst/>
              <a:gdLst>
                <a:gd name="connsiteX0" fmla="*/ 22654 w 45308"/>
                <a:gd name="connsiteY0" fmla="*/ 0 h 45308"/>
                <a:gd name="connsiteX1" fmla="*/ 0 w 45308"/>
                <a:gd name="connsiteY1" fmla="*/ 22654 h 45308"/>
                <a:gd name="connsiteX2" fmla="*/ 22654 w 45308"/>
                <a:gd name="connsiteY2" fmla="*/ 45308 h 45308"/>
                <a:gd name="connsiteX3" fmla="*/ 45308 w 45308"/>
                <a:gd name="connsiteY3" fmla="*/ 22654 h 45308"/>
                <a:gd name="connsiteX4" fmla="*/ 22654 w 45308"/>
                <a:gd name="connsiteY4" fmla="*/ 0 h 45308"/>
                <a:gd name="connsiteX5" fmla="*/ 22654 w 45308"/>
                <a:gd name="connsiteY5" fmla="*/ 0 h 4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08" h="45308">
                  <a:moveTo>
                    <a:pt x="22654" y="0"/>
                  </a:moveTo>
                  <a:cubicBezTo>
                    <a:pt x="10297" y="0"/>
                    <a:pt x="0" y="10297"/>
                    <a:pt x="0" y="22654"/>
                  </a:cubicBezTo>
                  <a:cubicBezTo>
                    <a:pt x="0" y="35011"/>
                    <a:pt x="10297" y="45308"/>
                    <a:pt x="22654" y="45308"/>
                  </a:cubicBezTo>
                  <a:cubicBezTo>
                    <a:pt x="35011" y="45308"/>
                    <a:pt x="45308" y="35011"/>
                    <a:pt x="45308" y="22654"/>
                  </a:cubicBezTo>
                  <a:cubicBezTo>
                    <a:pt x="45308" y="10297"/>
                    <a:pt x="35011" y="0"/>
                    <a:pt x="22654" y="0"/>
                  </a:cubicBezTo>
                  <a:lnTo>
                    <a:pt x="22654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9E985B4-B315-416F-3906-BCB134A8E6C2}"/>
                </a:ext>
              </a:extLst>
            </p:cNvPr>
            <p:cNvSpPr/>
            <p:nvPr/>
          </p:nvSpPr>
          <p:spPr>
            <a:xfrm>
              <a:off x="8006715" y="4090365"/>
              <a:ext cx="263610" cy="261551"/>
            </a:xfrm>
            <a:custGeom>
              <a:avLst/>
              <a:gdLst>
                <a:gd name="connsiteX0" fmla="*/ 166816 w 263610"/>
                <a:gd name="connsiteY0" fmla="*/ 261551 h 261551"/>
                <a:gd name="connsiteX1" fmla="*/ 96795 w 263610"/>
                <a:gd name="connsiteY1" fmla="*/ 261551 h 261551"/>
                <a:gd name="connsiteX2" fmla="*/ 82378 w 263610"/>
                <a:gd name="connsiteY2" fmla="*/ 218303 h 261551"/>
                <a:gd name="connsiteX3" fmla="*/ 37070 w 263610"/>
                <a:gd name="connsiteY3" fmla="*/ 226541 h 261551"/>
                <a:gd name="connsiteX4" fmla="*/ 0 w 263610"/>
                <a:gd name="connsiteY4" fmla="*/ 164757 h 261551"/>
                <a:gd name="connsiteX5" fmla="*/ 30892 w 263610"/>
                <a:gd name="connsiteY5" fmla="*/ 131805 h 261551"/>
                <a:gd name="connsiteX6" fmla="*/ 0 w 263610"/>
                <a:gd name="connsiteY6" fmla="*/ 96795 h 261551"/>
                <a:gd name="connsiteX7" fmla="*/ 35011 w 263610"/>
                <a:gd name="connsiteY7" fmla="*/ 35011 h 261551"/>
                <a:gd name="connsiteX8" fmla="*/ 82378 w 263610"/>
                <a:gd name="connsiteY8" fmla="*/ 43249 h 261551"/>
                <a:gd name="connsiteX9" fmla="*/ 96795 w 263610"/>
                <a:gd name="connsiteY9" fmla="*/ 0 h 261551"/>
                <a:gd name="connsiteX10" fmla="*/ 168876 w 263610"/>
                <a:gd name="connsiteY10" fmla="*/ 0 h 261551"/>
                <a:gd name="connsiteX11" fmla="*/ 183292 w 263610"/>
                <a:gd name="connsiteY11" fmla="*/ 45308 h 261551"/>
                <a:gd name="connsiteX12" fmla="*/ 226541 w 263610"/>
                <a:gd name="connsiteY12" fmla="*/ 35011 h 261551"/>
                <a:gd name="connsiteX13" fmla="*/ 263611 w 263610"/>
                <a:gd name="connsiteY13" fmla="*/ 96795 h 261551"/>
                <a:gd name="connsiteX14" fmla="*/ 232719 w 263610"/>
                <a:gd name="connsiteY14" fmla="*/ 131805 h 261551"/>
                <a:gd name="connsiteX15" fmla="*/ 263611 w 263610"/>
                <a:gd name="connsiteY15" fmla="*/ 166816 h 261551"/>
                <a:gd name="connsiteX16" fmla="*/ 228600 w 263610"/>
                <a:gd name="connsiteY16" fmla="*/ 228600 h 261551"/>
                <a:gd name="connsiteX17" fmla="*/ 183292 w 263610"/>
                <a:gd name="connsiteY17" fmla="*/ 220362 h 261551"/>
                <a:gd name="connsiteX18" fmla="*/ 166816 w 263610"/>
                <a:gd name="connsiteY18" fmla="*/ 261551 h 261551"/>
                <a:gd name="connsiteX19" fmla="*/ 125627 w 263610"/>
                <a:gd name="connsiteY19" fmla="*/ 220362 h 261551"/>
                <a:gd name="connsiteX20" fmla="*/ 135924 w 263610"/>
                <a:gd name="connsiteY20" fmla="*/ 220362 h 261551"/>
                <a:gd name="connsiteX21" fmla="*/ 146222 w 263610"/>
                <a:gd name="connsiteY21" fmla="*/ 187411 h 261551"/>
                <a:gd name="connsiteX22" fmla="*/ 154459 w 263610"/>
                <a:gd name="connsiteY22" fmla="*/ 183292 h 261551"/>
                <a:gd name="connsiteX23" fmla="*/ 164757 w 263610"/>
                <a:gd name="connsiteY23" fmla="*/ 179173 h 261551"/>
                <a:gd name="connsiteX24" fmla="*/ 172995 w 263610"/>
                <a:gd name="connsiteY24" fmla="*/ 175054 h 261551"/>
                <a:gd name="connsiteX25" fmla="*/ 205946 w 263610"/>
                <a:gd name="connsiteY25" fmla="*/ 179173 h 261551"/>
                <a:gd name="connsiteX26" fmla="*/ 212124 w 263610"/>
                <a:gd name="connsiteY26" fmla="*/ 168876 h 261551"/>
                <a:gd name="connsiteX27" fmla="*/ 191530 w 263610"/>
                <a:gd name="connsiteY27" fmla="*/ 144162 h 261551"/>
                <a:gd name="connsiteX28" fmla="*/ 191530 w 263610"/>
                <a:gd name="connsiteY28" fmla="*/ 113270 h 261551"/>
                <a:gd name="connsiteX29" fmla="*/ 214184 w 263610"/>
                <a:gd name="connsiteY29" fmla="*/ 88557 h 261551"/>
                <a:gd name="connsiteX30" fmla="*/ 205946 w 263610"/>
                <a:gd name="connsiteY30" fmla="*/ 82378 h 261551"/>
                <a:gd name="connsiteX31" fmla="*/ 170935 w 263610"/>
                <a:gd name="connsiteY31" fmla="*/ 88557 h 261551"/>
                <a:gd name="connsiteX32" fmla="*/ 164757 w 263610"/>
                <a:gd name="connsiteY32" fmla="*/ 84438 h 261551"/>
                <a:gd name="connsiteX33" fmla="*/ 156519 w 263610"/>
                <a:gd name="connsiteY33" fmla="*/ 80319 h 261551"/>
                <a:gd name="connsiteX34" fmla="*/ 148281 w 263610"/>
                <a:gd name="connsiteY34" fmla="*/ 76200 h 261551"/>
                <a:gd name="connsiteX35" fmla="*/ 137984 w 263610"/>
                <a:gd name="connsiteY35" fmla="*/ 43249 h 261551"/>
                <a:gd name="connsiteX36" fmla="*/ 125627 w 263610"/>
                <a:gd name="connsiteY36" fmla="*/ 43249 h 261551"/>
                <a:gd name="connsiteX37" fmla="*/ 115330 w 263610"/>
                <a:gd name="connsiteY37" fmla="*/ 76200 h 261551"/>
                <a:gd name="connsiteX38" fmla="*/ 107092 w 263610"/>
                <a:gd name="connsiteY38" fmla="*/ 80319 h 261551"/>
                <a:gd name="connsiteX39" fmla="*/ 98854 w 263610"/>
                <a:gd name="connsiteY39" fmla="*/ 84438 h 261551"/>
                <a:gd name="connsiteX40" fmla="*/ 90616 w 263610"/>
                <a:gd name="connsiteY40" fmla="*/ 90616 h 261551"/>
                <a:gd name="connsiteX41" fmla="*/ 57665 w 263610"/>
                <a:gd name="connsiteY41" fmla="*/ 84438 h 261551"/>
                <a:gd name="connsiteX42" fmla="*/ 51486 w 263610"/>
                <a:gd name="connsiteY42" fmla="*/ 94735 h 261551"/>
                <a:gd name="connsiteX43" fmla="*/ 74141 w 263610"/>
                <a:gd name="connsiteY43" fmla="*/ 117389 h 261551"/>
                <a:gd name="connsiteX44" fmla="*/ 74141 w 263610"/>
                <a:gd name="connsiteY44" fmla="*/ 148281 h 261551"/>
                <a:gd name="connsiteX45" fmla="*/ 51486 w 263610"/>
                <a:gd name="connsiteY45" fmla="*/ 172995 h 261551"/>
                <a:gd name="connsiteX46" fmla="*/ 57665 w 263610"/>
                <a:gd name="connsiteY46" fmla="*/ 179173 h 261551"/>
                <a:gd name="connsiteX47" fmla="*/ 90616 w 263610"/>
                <a:gd name="connsiteY47" fmla="*/ 172995 h 261551"/>
                <a:gd name="connsiteX48" fmla="*/ 98854 w 263610"/>
                <a:gd name="connsiteY48" fmla="*/ 179173 h 261551"/>
                <a:gd name="connsiteX49" fmla="*/ 109151 w 263610"/>
                <a:gd name="connsiteY49" fmla="*/ 185351 h 261551"/>
                <a:gd name="connsiteX50" fmla="*/ 117389 w 263610"/>
                <a:gd name="connsiteY50" fmla="*/ 189470 h 261551"/>
                <a:gd name="connsiteX51" fmla="*/ 125627 w 263610"/>
                <a:gd name="connsiteY51" fmla="*/ 220362 h 261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63610" h="261551">
                  <a:moveTo>
                    <a:pt x="166816" y="261551"/>
                  </a:moveTo>
                  <a:lnTo>
                    <a:pt x="96795" y="261551"/>
                  </a:lnTo>
                  <a:lnTo>
                    <a:pt x="82378" y="218303"/>
                  </a:lnTo>
                  <a:lnTo>
                    <a:pt x="37070" y="226541"/>
                  </a:lnTo>
                  <a:lnTo>
                    <a:pt x="0" y="164757"/>
                  </a:lnTo>
                  <a:lnTo>
                    <a:pt x="30892" y="131805"/>
                  </a:lnTo>
                  <a:lnTo>
                    <a:pt x="0" y="96795"/>
                  </a:lnTo>
                  <a:lnTo>
                    <a:pt x="35011" y="35011"/>
                  </a:lnTo>
                  <a:lnTo>
                    <a:pt x="82378" y="43249"/>
                  </a:lnTo>
                  <a:lnTo>
                    <a:pt x="96795" y="0"/>
                  </a:lnTo>
                  <a:lnTo>
                    <a:pt x="168876" y="0"/>
                  </a:lnTo>
                  <a:lnTo>
                    <a:pt x="183292" y="45308"/>
                  </a:lnTo>
                  <a:lnTo>
                    <a:pt x="226541" y="35011"/>
                  </a:lnTo>
                  <a:lnTo>
                    <a:pt x="263611" y="96795"/>
                  </a:lnTo>
                  <a:lnTo>
                    <a:pt x="232719" y="131805"/>
                  </a:lnTo>
                  <a:lnTo>
                    <a:pt x="263611" y="166816"/>
                  </a:lnTo>
                  <a:lnTo>
                    <a:pt x="228600" y="228600"/>
                  </a:lnTo>
                  <a:lnTo>
                    <a:pt x="183292" y="220362"/>
                  </a:lnTo>
                  <a:lnTo>
                    <a:pt x="166816" y="261551"/>
                  </a:lnTo>
                  <a:close/>
                  <a:moveTo>
                    <a:pt x="125627" y="220362"/>
                  </a:moveTo>
                  <a:lnTo>
                    <a:pt x="135924" y="220362"/>
                  </a:lnTo>
                  <a:lnTo>
                    <a:pt x="146222" y="187411"/>
                  </a:lnTo>
                  <a:lnTo>
                    <a:pt x="154459" y="183292"/>
                  </a:lnTo>
                  <a:cubicBezTo>
                    <a:pt x="158578" y="183292"/>
                    <a:pt x="162697" y="181232"/>
                    <a:pt x="164757" y="179173"/>
                  </a:cubicBezTo>
                  <a:lnTo>
                    <a:pt x="172995" y="175054"/>
                  </a:lnTo>
                  <a:lnTo>
                    <a:pt x="205946" y="179173"/>
                  </a:lnTo>
                  <a:lnTo>
                    <a:pt x="212124" y="168876"/>
                  </a:lnTo>
                  <a:lnTo>
                    <a:pt x="191530" y="144162"/>
                  </a:lnTo>
                  <a:lnTo>
                    <a:pt x="191530" y="113270"/>
                  </a:lnTo>
                  <a:lnTo>
                    <a:pt x="214184" y="88557"/>
                  </a:lnTo>
                  <a:lnTo>
                    <a:pt x="205946" y="82378"/>
                  </a:lnTo>
                  <a:lnTo>
                    <a:pt x="170935" y="88557"/>
                  </a:lnTo>
                  <a:lnTo>
                    <a:pt x="164757" y="84438"/>
                  </a:lnTo>
                  <a:cubicBezTo>
                    <a:pt x="162697" y="82378"/>
                    <a:pt x="160638" y="80319"/>
                    <a:pt x="156519" y="80319"/>
                  </a:cubicBezTo>
                  <a:lnTo>
                    <a:pt x="148281" y="76200"/>
                  </a:lnTo>
                  <a:lnTo>
                    <a:pt x="137984" y="43249"/>
                  </a:lnTo>
                  <a:lnTo>
                    <a:pt x="125627" y="43249"/>
                  </a:lnTo>
                  <a:lnTo>
                    <a:pt x="115330" y="76200"/>
                  </a:lnTo>
                  <a:lnTo>
                    <a:pt x="107092" y="80319"/>
                  </a:lnTo>
                  <a:cubicBezTo>
                    <a:pt x="105032" y="82378"/>
                    <a:pt x="100914" y="82378"/>
                    <a:pt x="98854" y="84438"/>
                  </a:cubicBezTo>
                  <a:lnTo>
                    <a:pt x="90616" y="90616"/>
                  </a:lnTo>
                  <a:lnTo>
                    <a:pt x="57665" y="84438"/>
                  </a:lnTo>
                  <a:lnTo>
                    <a:pt x="51486" y="94735"/>
                  </a:lnTo>
                  <a:lnTo>
                    <a:pt x="74141" y="117389"/>
                  </a:lnTo>
                  <a:lnTo>
                    <a:pt x="74141" y="148281"/>
                  </a:lnTo>
                  <a:lnTo>
                    <a:pt x="51486" y="172995"/>
                  </a:lnTo>
                  <a:lnTo>
                    <a:pt x="57665" y="179173"/>
                  </a:lnTo>
                  <a:lnTo>
                    <a:pt x="90616" y="172995"/>
                  </a:lnTo>
                  <a:lnTo>
                    <a:pt x="98854" y="179173"/>
                  </a:lnTo>
                  <a:cubicBezTo>
                    <a:pt x="102973" y="181232"/>
                    <a:pt x="105032" y="183292"/>
                    <a:pt x="109151" y="185351"/>
                  </a:cubicBezTo>
                  <a:lnTo>
                    <a:pt x="117389" y="189470"/>
                  </a:lnTo>
                  <a:lnTo>
                    <a:pt x="125627" y="220362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08A34AF3-C00B-FC0E-B1CF-A59B48051255}"/>
                </a:ext>
              </a:extLst>
            </p:cNvPr>
            <p:cNvSpPr/>
            <p:nvPr/>
          </p:nvSpPr>
          <p:spPr>
            <a:xfrm>
              <a:off x="8298379" y="3940025"/>
              <a:ext cx="50985" cy="49427"/>
            </a:xfrm>
            <a:custGeom>
              <a:avLst/>
              <a:gdLst>
                <a:gd name="connsiteX0" fmla="*/ 27552 w 50985"/>
                <a:gd name="connsiteY0" fmla="*/ 0 h 49427"/>
                <a:gd name="connsiteX1" fmla="*/ 13136 w 50985"/>
                <a:gd name="connsiteY1" fmla="*/ 2059 h 49427"/>
                <a:gd name="connsiteX2" fmla="*/ 2839 w 50985"/>
                <a:gd name="connsiteY2" fmla="*/ 37070 h 49427"/>
                <a:gd name="connsiteX3" fmla="*/ 25493 w 50985"/>
                <a:gd name="connsiteY3" fmla="*/ 49427 h 49427"/>
                <a:gd name="connsiteX4" fmla="*/ 37849 w 50985"/>
                <a:gd name="connsiteY4" fmla="*/ 45308 h 49427"/>
                <a:gd name="connsiteX5" fmla="*/ 48147 w 50985"/>
                <a:gd name="connsiteY5" fmla="*/ 10297 h 49427"/>
                <a:gd name="connsiteX6" fmla="*/ 27552 w 50985"/>
                <a:gd name="connsiteY6" fmla="*/ 0 h 49427"/>
                <a:gd name="connsiteX7" fmla="*/ 27552 w 50985"/>
                <a:gd name="connsiteY7" fmla="*/ 0 h 49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985" h="49427">
                  <a:moveTo>
                    <a:pt x="27552" y="0"/>
                  </a:moveTo>
                  <a:cubicBezTo>
                    <a:pt x="21374" y="0"/>
                    <a:pt x="17255" y="0"/>
                    <a:pt x="13136" y="2059"/>
                  </a:cubicBezTo>
                  <a:cubicBezTo>
                    <a:pt x="779" y="10297"/>
                    <a:pt x="-3340" y="24714"/>
                    <a:pt x="2839" y="37070"/>
                  </a:cubicBezTo>
                  <a:cubicBezTo>
                    <a:pt x="6957" y="45308"/>
                    <a:pt x="15195" y="49427"/>
                    <a:pt x="25493" y="49427"/>
                  </a:cubicBezTo>
                  <a:cubicBezTo>
                    <a:pt x="29612" y="49427"/>
                    <a:pt x="33730" y="47368"/>
                    <a:pt x="37849" y="45308"/>
                  </a:cubicBezTo>
                  <a:cubicBezTo>
                    <a:pt x="50206" y="37070"/>
                    <a:pt x="54325" y="22654"/>
                    <a:pt x="48147" y="10297"/>
                  </a:cubicBezTo>
                  <a:cubicBezTo>
                    <a:pt x="44028" y="4119"/>
                    <a:pt x="35790" y="0"/>
                    <a:pt x="27552" y="0"/>
                  </a:cubicBezTo>
                  <a:lnTo>
                    <a:pt x="27552" y="0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2FC6019-DCC4-B7E9-A0DD-93FE42D32C3F}"/>
                </a:ext>
              </a:extLst>
            </p:cNvPr>
            <p:cNvSpPr/>
            <p:nvPr/>
          </p:nvSpPr>
          <p:spPr>
            <a:xfrm>
              <a:off x="8177650" y="3818517"/>
              <a:ext cx="294502" cy="296562"/>
            </a:xfrm>
            <a:custGeom>
              <a:avLst/>
              <a:gdLst>
                <a:gd name="connsiteX0" fmla="*/ 185351 w 294502"/>
                <a:gd name="connsiteY0" fmla="*/ 296562 h 296562"/>
                <a:gd name="connsiteX1" fmla="*/ 146222 w 294502"/>
                <a:gd name="connsiteY1" fmla="*/ 261551 h 296562"/>
                <a:gd name="connsiteX2" fmla="*/ 107092 w 294502"/>
                <a:gd name="connsiteY2" fmla="*/ 296562 h 296562"/>
                <a:gd name="connsiteX3" fmla="*/ 39130 w 294502"/>
                <a:gd name="connsiteY3" fmla="*/ 255373 h 296562"/>
                <a:gd name="connsiteX4" fmla="*/ 49427 w 294502"/>
                <a:gd name="connsiteY4" fmla="*/ 205946 h 296562"/>
                <a:gd name="connsiteX5" fmla="*/ 0 w 294502"/>
                <a:gd name="connsiteY5" fmla="*/ 189470 h 296562"/>
                <a:gd name="connsiteX6" fmla="*/ 0 w 294502"/>
                <a:gd name="connsiteY6" fmla="*/ 107092 h 296562"/>
                <a:gd name="connsiteX7" fmla="*/ 49427 w 294502"/>
                <a:gd name="connsiteY7" fmla="*/ 90616 h 296562"/>
                <a:gd name="connsiteX8" fmla="*/ 39130 w 294502"/>
                <a:gd name="connsiteY8" fmla="*/ 41189 h 296562"/>
                <a:gd name="connsiteX9" fmla="*/ 107092 w 294502"/>
                <a:gd name="connsiteY9" fmla="*/ 0 h 296562"/>
                <a:gd name="connsiteX10" fmla="*/ 146222 w 294502"/>
                <a:gd name="connsiteY10" fmla="*/ 35011 h 296562"/>
                <a:gd name="connsiteX11" fmla="*/ 185351 w 294502"/>
                <a:gd name="connsiteY11" fmla="*/ 0 h 296562"/>
                <a:gd name="connsiteX12" fmla="*/ 255373 w 294502"/>
                <a:gd name="connsiteY12" fmla="*/ 41189 h 296562"/>
                <a:gd name="connsiteX13" fmla="*/ 245076 w 294502"/>
                <a:gd name="connsiteY13" fmla="*/ 90616 h 296562"/>
                <a:gd name="connsiteX14" fmla="*/ 294503 w 294502"/>
                <a:gd name="connsiteY14" fmla="*/ 105032 h 296562"/>
                <a:gd name="connsiteX15" fmla="*/ 294503 w 294502"/>
                <a:gd name="connsiteY15" fmla="*/ 187411 h 296562"/>
                <a:gd name="connsiteX16" fmla="*/ 245076 w 294502"/>
                <a:gd name="connsiteY16" fmla="*/ 203886 h 296562"/>
                <a:gd name="connsiteX17" fmla="*/ 245076 w 294502"/>
                <a:gd name="connsiteY17" fmla="*/ 203886 h 296562"/>
                <a:gd name="connsiteX18" fmla="*/ 255373 w 294502"/>
                <a:gd name="connsiteY18" fmla="*/ 255373 h 296562"/>
                <a:gd name="connsiteX19" fmla="*/ 185351 w 294502"/>
                <a:gd name="connsiteY19" fmla="*/ 296562 h 296562"/>
                <a:gd name="connsiteX20" fmla="*/ 162697 w 294502"/>
                <a:gd name="connsiteY20" fmla="*/ 212124 h 296562"/>
                <a:gd name="connsiteX21" fmla="*/ 191530 w 294502"/>
                <a:gd name="connsiteY21" fmla="*/ 236838 h 296562"/>
                <a:gd name="connsiteX22" fmla="*/ 201827 w 294502"/>
                <a:gd name="connsiteY22" fmla="*/ 230659 h 296562"/>
                <a:gd name="connsiteX23" fmla="*/ 193589 w 294502"/>
                <a:gd name="connsiteY23" fmla="*/ 193589 h 296562"/>
                <a:gd name="connsiteX24" fmla="*/ 199768 w 294502"/>
                <a:gd name="connsiteY24" fmla="*/ 185351 h 296562"/>
                <a:gd name="connsiteX25" fmla="*/ 205946 w 294502"/>
                <a:gd name="connsiteY25" fmla="*/ 175054 h 296562"/>
                <a:gd name="connsiteX26" fmla="*/ 210065 w 294502"/>
                <a:gd name="connsiteY26" fmla="*/ 164757 h 296562"/>
                <a:gd name="connsiteX27" fmla="*/ 247135 w 294502"/>
                <a:gd name="connsiteY27" fmla="*/ 152400 h 296562"/>
                <a:gd name="connsiteX28" fmla="*/ 247135 w 294502"/>
                <a:gd name="connsiteY28" fmla="*/ 140043 h 296562"/>
                <a:gd name="connsiteX29" fmla="*/ 216243 w 294502"/>
                <a:gd name="connsiteY29" fmla="*/ 129746 h 296562"/>
                <a:gd name="connsiteX30" fmla="*/ 212124 w 294502"/>
                <a:gd name="connsiteY30" fmla="*/ 125627 h 296562"/>
                <a:gd name="connsiteX31" fmla="*/ 203887 w 294502"/>
                <a:gd name="connsiteY31" fmla="*/ 115330 h 296562"/>
                <a:gd name="connsiteX32" fmla="*/ 224481 w 294502"/>
                <a:gd name="connsiteY32" fmla="*/ 102973 h 296562"/>
                <a:gd name="connsiteX33" fmla="*/ 203887 w 294502"/>
                <a:gd name="connsiteY33" fmla="*/ 115330 h 296562"/>
                <a:gd name="connsiteX34" fmla="*/ 193589 w 294502"/>
                <a:gd name="connsiteY34" fmla="*/ 100914 h 296562"/>
                <a:gd name="connsiteX35" fmla="*/ 201827 w 294502"/>
                <a:gd name="connsiteY35" fmla="*/ 63843 h 296562"/>
                <a:gd name="connsiteX36" fmla="*/ 191530 w 294502"/>
                <a:gd name="connsiteY36" fmla="*/ 57665 h 296562"/>
                <a:gd name="connsiteX37" fmla="*/ 162697 w 294502"/>
                <a:gd name="connsiteY37" fmla="*/ 82378 h 296562"/>
                <a:gd name="connsiteX38" fmla="*/ 152400 w 294502"/>
                <a:gd name="connsiteY38" fmla="*/ 82378 h 296562"/>
                <a:gd name="connsiteX39" fmla="*/ 142103 w 294502"/>
                <a:gd name="connsiteY39" fmla="*/ 82378 h 296562"/>
                <a:gd name="connsiteX40" fmla="*/ 131805 w 294502"/>
                <a:gd name="connsiteY40" fmla="*/ 82378 h 296562"/>
                <a:gd name="connsiteX41" fmla="*/ 102973 w 294502"/>
                <a:gd name="connsiteY41" fmla="*/ 57665 h 296562"/>
                <a:gd name="connsiteX42" fmla="*/ 92676 w 294502"/>
                <a:gd name="connsiteY42" fmla="*/ 63843 h 296562"/>
                <a:gd name="connsiteX43" fmla="*/ 100914 w 294502"/>
                <a:gd name="connsiteY43" fmla="*/ 100914 h 296562"/>
                <a:gd name="connsiteX44" fmla="*/ 94735 w 294502"/>
                <a:gd name="connsiteY44" fmla="*/ 109151 h 296562"/>
                <a:gd name="connsiteX45" fmla="*/ 88557 w 294502"/>
                <a:gd name="connsiteY45" fmla="*/ 119449 h 296562"/>
                <a:gd name="connsiteX46" fmla="*/ 84438 w 294502"/>
                <a:gd name="connsiteY46" fmla="*/ 129746 h 296562"/>
                <a:gd name="connsiteX47" fmla="*/ 49427 w 294502"/>
                <a:gd name="connsiteY47" fmla="*/ 142103 h 296562"/>
                <a:gd name="connsiteX48" fmla="*/ 49427 w 294502"/>
                <a:gd name="connsiteY48" fmla="*/ 154459 h 296562"/>
                <a:gd name="connsiteX49" fmla="*/ 84438 w 294502"/>
                <a:gd name="connsiteY49" fmla="*/ 166816 h 296562"/>
                <a:gd name="connsiteX50" fmla="*/ 94735 w 294502"/>
                <a:gd name="connsiteY50" fmla="*/ 187411 h 296562"/>
                <a:gd name="connsiteX51" fmla="*/ 100914 w 294502"/>
                <a:gd name="connsiteY51" fmla="*/ 195649 h 296562"/>
                <a:gd name="connsiteX52" fmla="*/ 92676 w 294502"/>
                <a:gd name="connsiteY52" fmla="*/ 232719 h 296562"/>
                <a:gd name="connsiteX53" fmla="*/ 102973 w 294502"/>
                <a:gd name="connsiteY53" fmla="*/ 238897 h 296562"/>
                <a:gd name="connsiteX54" fmla="*/ 131805 w 294502"/>
                <a:gd name="connsiteY54" fmla="*/ 214184 h 296562"/>
                <a:gd name="connsiteX55" fmla="*/ 142103 w 294502"/>
                <a:gd name="connsiteY55" fmla="*/ 214184 h 296562"/>
                <a:gd name="connsiteX56" fmla="*/ 152400 w 294502"/>
                <a:gd name="connsiteY56" fmla="*/ 214184 h 296562"/>
                <a:gd name="connsiteX57" fmla="*/ 162697 w 294502"/>
                <a:gd name="connsiteY57" fmla="*/ 212124 h 296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4502" h="296562">
                  <a:moveTo>
                    <a:pt x="185351" y="296562"/>
                  </a:moveTo>
                  <a:lnTo>
                    <a:pt x="146222" y="261551"/>
                  </a:lnTo>
                  <a:lnTo>
                    <a:pt x="107092" y="296562"/>
                  </a:lnTo>
                  <a:lnTo>
                    <a:pt x="39130" y="255373"/>
                  </a:lnTo>
                  <a:lnTo>
                    <a:pt x="49427" y="205946"/>
                  </a:lnTo>
                  <a:lnTo>
                    <a:pt x="0" y="189470"/>
                  </a:lnTo>
                  <a:lnTo>
                    <a:pt x="0" y="107092"/>
                  </a:lnTo>
                  <a:lnTo>
                    <a:pt x="49427" y="90616"/>
                  </a:lnTo>
                  <a:lnTo>
                    <a:pt x="39130" y="41189"/>
                  </a:lnTo>
                  <a:lnTo>
                    <a:pt x="107092" y="0"/>
                  </a:lnTo>
                  <a:lnTo>
                    <a:pt x="146222" y="35011"/>
                  </a:lnTo>
                  <a:lnTo>
                    <a:pt x="185351" y="0"/>
                  </a:lnTo>
                  <a:lnTo>
                    <a:pt x="255373" y="41189"/>
                  </a:lnTo>
                  <a:lnTo>
                    <a:pt x="245076" y="90616"/>
                  </a:lnTo>
                  <a:lnTo>
                    <a:pt x="294503" y="105032"/>
                  </a:lnTo>
                  <a:lnTo>
                    <a:pt x="294503" y="187411"/>
                  </a:lnTo>
                  <a:lnTo>
                    <a:pt x="245076" y="203886"/>
                  </a:lnTo>
                  <a:cubicBezTo>
                    <a:pt x="245076" y="203886"/>
                    <a:pt x="245076" y="203886"/>
                    <a:pt x="245076" y="203886"/>
                  </a:cubicBezTo>
                  <a:lnTo>
                    <a:pt x="255373" y="255373"/>
                  </a:lnTo>
                  <a:lnTo>
                    <a:pt x="185351" y="296562"/>
                  </a:lnTo>
                  <a:close/>
                  <a:moveTo>
                    <a:pt x="162697" y="212124"/>
                  </a:moveTo>
                  <a:lnTo>
                    <a:pt x="191530" y="236838"/>
                  </a:lnTo>
                  <a:lnTo>
                    <a:pt x="201827" y="230659"/>
                  </a:lnTo>
                  <a:lnTo>
                    <a:pt x="193589" y="193589"/>
                  </a:lnTo>
                  <a:lnTo>
                    <a:pt x="199768" y="185351"/>
                  </a:lnTo>
                  <a:cubicBezTo>
                    <a:pt x="201827" y="181232"/>
                    <a:pt x="203887" y="179173"/>
                    <a:pt x="205946" y="175054"/>
                  </a:cubicBezTo>
                  <a:lnTo>
                    <a:pt x="210065" y="164757"/>
                  </a:lnTo>
                  <a:lnTo>
                    <a:pt x="247135" y="152400"/>
                  </a:lnTo>
                  <a:lnTo>
                    <a:pt x="247135" y="140043"/>
                  </a:lnTo>
                  <a:lnTo>
                    <a:pt x="216243" y="129746"/>
                  </a:lnTo>
                  <a:lnTo>
                    <a:pt x="212124" y="125627"/>
                  </a:lnTo>
                  <a:cubicBezTo>
                    <a:pt x="208005" y="121508"/>
                    <a:pt x="205946" y="117389"/>
                    <a:pt x="203887" y="115330"/>
                  </a:cubicBezTo>
                  <a:lnTo>
                    <a:pt x="224481" y="102973"/>
                  </a:lnTo>
                  <a:lnTo>
                    <a:pt x="203887" y="115330"/>
                  </a:lnTo>
                  <a:lnTo>
                    <a:pt x="193589" y="100914"/>
                  </a:lnTo>
                  <a:lnTo>
                    <a:pt x="201827" y="63843"/>
                  </a:lnTo>
                  <a:lnTo>
                    <a:pt x="191530" y="57665"/>
                  </a:lnTo>
                  <a:lnTo>
                    <a:pt x="162697" y="82378"/>
                  </a:lnTo>
                  <a:lnTo>
                    <a:pt x="152400" y="82378"/>
                  </a:lnTo>
                  <a:cubicBezTo>
                    <a:pt x="148281" y="82378"/>
                    <a:pt x="144162" y="82378"/>
                    <a:pt x="142103" y="82378"/>
                  </a:cubicBezTo>
                  <a:lnTo>
                    <a:pt x="131805" y="82378"/>
                  </a:lnTo>
                  <a:lnTo>
                    <a:pt x="102973" y="57665"/>
                  </a:lnTo>
                  <a:lnTo>
                    <a:pt x="92676" y="63843"/>
                  </a:lnTo>
                  <a:lnTo>
                    <a:pt x="100914" y="100914"/>
                  </a:lnTo>
                  <a:lnTo>
                    <a:pt x="94735" y="109151"/>
                  </a:lnTo>
                  <a:cubicBezTo>
                    <a:pt x="92676" y="111211"/>
                    <a:pt x="90616" y="115330"/>
                    <a:pt x="88557" y="119449"/>
                  </a:cubicBezTo>
                  <a:lnTo>
                    <a:pt x="84438" y="129746"/>
                  </a:lnTo>
                  <a:lnTo>
                    <a:pt x="49427" y="142103"/>
                  </a:lnTo>
                  <a:lnTo>
                    <a:pt x="49427" y="154459"/>
                  </a:lnTo>
                  <a:lnTo>
                    <a:pt x="84438" y="166816"/>
                  </a:lnTo>
                  <a:lnTo>
                    <a:pt x="94735" y="187411"/>
                  </a:lnTo>
                  <a:lnTo>
                    <a:pt x="100914" y="195649"/>
                  </a:lnTo>
                  <a:lnTo>
                    <a:pt x="92676" y="232719"/>
                  </a:lnTo>
                  <a:lnTo>
                    <a:pt x="102973" y="238897"/>
                  </a:lnTo>
                  <a:lnTo>
                    <a:pt x="131805" y="214184"/>
                  </a:lnTo>
                  <a:lnTo>
                    <a:pt x="142103" y="214184"/>
                  </a:lnTo>
                  <a:cubicBezTo>
                    <a:pt x="146222" y="214184"/>
                    <a:pt x="150341" y="214184"/>
                    <a:pt x="152400" y="214184"/>
                  </a:cubicBezTo>
                  <a:lnTo>
                    <a:pt x="162697" y="212124"/>
                  </a:lnTo>
                  <a:close/>
                </a:path>
              </a:pathLst>
            </a:custGeom>
            <a:grpFill/>
            <a:ln w="205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8" name="Graphic 47">
            <a:extLst>
              <a:ext uri="{FF2B5EF4-FFF2-40B4-BE49-F238E27FC236}">
                <a16:creationId xmlns:a16="http://schemas.microsoft.com/office/drawing/2014/main" id="{26F9E367-B39C-659E-4F6E-E0ABCEA45D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9025229" y="3932080"/>
            <a:ext cx="2015962" cy="2015962"/>
          </a:xfrm>
          <a:prstGeom prst="rect">
            <a:avLst/>
          </a:prstGeom>
        </p:spPr>
      </p:pic>
      <p:sp>
        <p:nvSpPr>
          <p:cNvPr id="50" name="Arrow: Right 49">
            <a:extLst>
              <a:ext uri="{FF2B5EF4-FFF2-40B4-BE49-F238E27FC236}">
                <a16:creationId xmlns:a16="http://schemas.microsoft.com/office/drawing/2014/main" id="{73CC063A-538A-FBEA-2677-719D73DE1C49}"/>
              </a:ext>
            </a:extLst>
          </p:cNvPr>
          <p:cNvSpPr/>
          <p:nvPr/>
        </p:nvSpPr>
        <p:spPr>
          <a:xfrm rot="16200000">
            <a:off x="5051402" y="4779253"/>
            <a:ext cx="2298131" cy="475177"/>
          </a:xfrm>
          <a:prstGeom prst="rightArrow">
            <a:avLst>
              <a:gd name="adj1" fmla="val 50000"/>
              <a:gd name="adj2" fmla="val 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659F1A0F-3ECA-4DA8-19D1-8B877E132BFE}"/>
              </a:ext>
            </a:extLst>
          </p:cNvPr>
          <p:cNvSpPr/>
          <p:nvPr/>
        </p:nvSpPr>
        <p:spPr>
          <a:xfrm>
            <a:off x="3674378" y="4799202"/>
            <a:ext cx="2650921" cy="475177"/>
          </a:xfrm>
          <a:prstGeom prst="rightArrow">
            <a:avLst>
              <a:gd name="adj1" fmla="val 50000"/>
              <a:gd name="adj2" fmla="val 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4836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PBIG">
      <a:dk1>
        <a:sysClr val="windowText" lastClr="000000"/>
      </a:dk1>
      <a:lt1>
        <a:sysClr val="window" lastClr="FFFFFF"/>
      </a:lt1>
      <a:dk2>
        <a:srgbClr val="44546A"/>
      </a:dk2>
      <a:lt2>
        <a:srgbClr val="F3F2F1"/>
      </a:lt2>
      <a:accent1>
        <a:srgbClr val="12239E"/>
      </a:accent1>
      <a:accent2>
        <a:srgbClr val="B60064"/>
      </a:accent2>
      <a:accent3>
        <a:srgbClr val="C94F0F"/>
      </a:accent3>
      <a:accent4>
        <a:srgbClr val="F2C811"/>
      </a:accent4>
      <a:accent5>
        <a:srgbClr val="4668C5"/>
      </a:accent5>
      <a:accent6>
        <a:srgbClr val="197278"/>
      </a:accent6>
      <a:hlink>
        <a:srgbClr val="0563C1"/>
      </a:hlink>
      <a:folHlink>
        <a:srgbClr val="954F72"/>
      </a:folHlink>
    </a:clrScheme>
    <a:fontScheme name="pbig">
      <a:majorFont>
        <a:latin typeface="Vig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antoorthema">
  <a:themeElements>
    <a:clrScheme name="PBIG">
      <a:dk1>
        <a:sysClr val="windowText" lastClr="000000"/>
      </a:dk1>
      <a:lt1>
        <a:sysClr val="window" lastClr="FFFFFF"/>
      </a:lt1>
      <a:dk2>
        <a:srgbClr val="44546A"/>
      </a:dk2>
      <a:lt2>
        <a:srgbClr val="F3F2F1"/>
      </a:lt2>
      <a:accent1>
        <a:srgbClr val="12239E"/>
      </a:accent1>
      <a:accent2>
        <a:srgbClr val="B60064"/>
      </a:accent2>
      <a:accent3>
        <a:srgbClr val="C94F0F"/>
      </a:accent3>
      <a:accent4>
        <a:srgbClr val="F2C811"/>
      </a:accent4>
      <a:accent5>
        <a:srgbClr val="4668C5"/>
      </a:accent5>
      <a:accent6>
        <a:srgbClr val="197278"/>
      </a:accent6>
      <a:hlink>
        <a:srgbClr val="0563C1"/>
      </a:hlink>
      <a:folHlink>
        <a:srgbClr val="954F72"/>
      </a:folHlink>
    </a:clrScheme>
    <a:fontScheme name="pbig">
      <a:majorFont>
        <a:latin typeface="Vig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</TotalTime>
  <Words>681</Words>
  <Application>Microsoft Office PowerPoint</Application>
  <PresentationFormat>Widescreen</PresentationFormat>
  <Paragraphs>102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Segoe UI</vt:lpstr>
      <vt:lpstr>Segoe UI (body)</vt:lpstr>
      <vt:lpstr>Viga</vt:lpstr>
      <vt:lpstr>Kantoorthema</vt:lpstr>
      <vt:lpstr>1_Kantoorthema</vt:lpstr>
      <vt:lpstr>think-cell Slide</vt:lpstr>
      <vt:lpstr>Automate data ingestion with custom Power Query functions</vt:lpstr>
      <vt:lpstr>PowerPoint Presentation</vt:lpstr>
      <vt:lpstr>Grzegorz (Greg) Strzymiński</vt:lpstr>
      <vt:lpstr>Agenda</vt:lpstr>
      <vt:lpstr>After this session you will be:</vt:lpstr>
      <vt:lpstr>A function</vt:lpstr>
      <vt:lpstr>A function</vt:lpstr>
      <vt:lpstr>A custom function in Power Query</vt:lpstr>
      <vt:lpstr>General use-case for custom  functions in Power Query</vt:lpstr>
      <vt:lpstr>Rule of thumb – when  to leverage custom functions</vt:lpstr>
      <vt:lpstr>Frequent use cases for custom functions in Power Query</vt:lpstr>
      <vt:lpstr>Live demos</vt:lpstr>
      <vt:lpstr>Function with sample file transformation or without</vt:lpstr>
      <vt:lpstr>Considerations</vt:lpstr>
      <vt:lpstr>When custom functions  might not be the go-to choice</vt:lpstr>
      <vt:lpstr>Alternatives to custom functions</vt:lpstr>
      <vt:lpstr>Once you ingest the data …</vt:lpstr>
      <vt:lpstr>To use custom functions or not to?</vt:lpstr>
      <vt:lpstr>To use custom functions or not to?</vt:lpstr>
      <vt:lpstr>Q&amp;A</vt:lpstr>
      <vt:lpstr>Thank you!</vt:lpstr>
      <vt:lpstr>Session evalu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uisstijl ontwikkeling  Power BI gebruikersgroep</dc:title>
  <dc:creator>lonneke opsteegh</dc:creator>
  <cp:lastModifiedBy>Strzyminski, Grzegorz</cp:lastModifiedBy>
  <cp:revision>10</cp:revision>
  <dcterms:created xsi:type="dcterms:W3CDTF">2022-09-29T20:23:42Z</dcterms:created>
  <dcterms:modified xsi:type="dcterms:W3CDTF">2024-03-08T01:0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4-03-04T14:25:16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ada985e8-e95e-4c33-a78f-96f58c12a74e</vt:lpwstr>
  </property>
  <property fmtid="{D5CDD505-2E9C-101B-9397-08002B2CF9AE}" pid="8" name="MSIP_Label_0e815a84-bb14-486b-9367-c1af54c95fa4_ContentBits">
    <vt:lpwstr>0</vt:lpwstr>
  </property>
</Properties>
</file>